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3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3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5.xml" ContentType="application/vnd.openxmlformats-officedocument.presentationml.tags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Default Extension="jpeg" ContentType="image/jpeg"/>
  <Override PartName="/ppt/tags/tag3.xml" ContentType="application/vnd.openxmlformats-officedocument.presentationml.tags+xml"/>
  <Override PartName="/ppt/slideLayouts/slideLayout34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5" r:id="rId1"/>
    <p:sldMasterId id="2147483766" r:id="rId2"/>
  </p:sldMasterIdLst>
  <p:notesMasterIdLst>
    <p:notesMasterId r:id="rId19"/>
  </p:notesMasterIdLst>
  <p:handoutMasterIdLst>
    <p:handoutMasterId r:id="rId20"/>
  </p:handoutMasterIdLst>
  <p:sldIdLst>
    <p:sldId id="400" r:id="rId3"/>
    <p:sldId id="399" r:id="rId4"/>
    <p:sldId id="368" r:id="rId5"/>
    <p:sldId id="395" r:id="rId6"/>
    <p:sldId id="371" r:id="rId7"/>
    <p:sldId id="388" r:id="rId8"/>
    <p:sldId id="403" r:id="rId9"/>
    <p:sldId id="405" r:id="rId10"/>
    <p:sldId id="406" r:id="rId11"/>
    <p:sldId id="401" r:id="rId12"/>
    <p:sldId id="398" r:id="rId13"/>
    <p:sldId id="381" r:id="rId14"/>
    <p:sldId id="391" r:id="rId15"/>
    <p:sldId id="385" r:id="rId16"/>
    <p:sldId id="379" r:id="rId17"/>
    <p:sldId id="397" r:id="rId18"/>
  </p:sldIdLst>
  <p:sldSz cx="9906000" cy="6858000" type="A4"/>
  <p:notesSz cx="6797675" cy="9926638"/>
  <p:custDataLst>
    <p:tags r:id="rId21"/>
  </p:custDataLst>
  <p:defaultTextStyle>
    <a:defPPr>
      <a:defRPr lang="ru-RU"/>
    </a:defPPr>
    <a:lvl1pPr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1pPr>
    <a:lvl2pPr marL="477838" indent="-20638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2pPr>
    <a:lvl3pPr marL="957263" indent="-42863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3pPr>
    <a:lvl4pPr marL="1436688" indent="-65088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4pPr>
    <a:lvl5pPr marL="1914525" indent="-85725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663300"/>
    <a:srgbClr val="66CCFF"/>
    <a:srgbClr val="DDDDDD"/>
    <a:srgbClr val="99FF33"/>
    <a:srgbClr val="99CCFF"/>
    <a:srgbClr val="CC3300"/>
    <a:srgbClr val="FF9933"/>
    <a:srgbClr val="FF9900"/>
  </p:clrMru>
</p:presentationPr>
</file>

<file path=ppt/tableStyles.xml><?xml version="1.0" encoding="utf-8"?>
<a:tblStyleLst xmlns:a="http://schemas.openxmlformats.org/drawingml/2006/main" def="{3C2FFA5D-87B4-456A-9821-1D502468CF0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3768" autoAdjust="0"/>
    <p:restoredTop sz="94610" autoAdjust="0"/>
  </p:normalViewPr>
  <p:slideViewPr>
    <p:cSldViewPr snapToObjects="1">
      <p:cViewPr varScale="1">
        <p:scale>
          <a:sx n="98" d="100"/>
          <a:sy n="98" d="100"/>
        </p:scale>
        <p:origin x="-492" y="-90"/>
      </p:cViewPr>
      <p:guideLst>
        <p:guide orient="horz" pos="492"/>
        <p:guide orient="horz" pos="4134"/>
        <p:guide orient="horz" pos="2160"/>
        <p:guide orient="horz" pos="380"/>
        <p:guide orient="horz" pos="2432"/>
        <p:guide orient="horz" pos="2230"/>
        <p:guide orient="horz" pos="4245"/>
        <p:guide orient="horz" pos="3979"/>
        <p:guide pos="217"/>
        <p:guide pos="6023"/>
        <p:guide pos="3064"/>
        <p:guide pos="3176"/>
      </p:guideLst>
    </p:cSldViewPr>
  </p:slideViewPr>
  <p:outlineViewPr>
    <p:cViewPr>
      <p:scale>
        <a:sx n="33" d="100"/>
        <a:sy n="33" d="100"/>
      </p:scale>
      <p:origin x="0" y="1296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61" d="100"/>
          <a:sy n="61" d="100"/>
        </p:scale>
        <p:origin x="-3402" y="-96"/>
      </p:cViewPr>
      <p:guideLst>
        <p:guide orient="horz" pos="3127"/>
        <p:guide pos="2141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57838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57838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9A9F901-87AC-4AB6-9CAE-849C17133206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57838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957838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DC15A0D-45C4-4BD8-803A-082366BD7B5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57838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defTabSz="957838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6CF08439-19BE-47FF-835F-963F8CD69964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6125"/>
            <a:ext cx="53752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563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ru-RU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57838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defTabSz="957838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2F472F7F-B860-4A54-B522-3904D1A5FFB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defTabSz="957263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77838" algn="l" defTabSz="957263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57263" algn="l" defTabSz="957263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36688" algn="l" defTabSz="957263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14525" algn="l" defTabSz="957263" rtl="0" eaLnBrk="0" fontAlgn="base" hangingPunct="0">
      <a:spcBef>
        <a:spcPct val="30000"/>
      </a:spcBef>
      <a:spcAft>
        <a:spcPct val="0"/>
      </a:spcAft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394596" algn="l" defTabSz="957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3515" algn="l" defTabSz="957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2434" algn="l" defTabSz="957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31353" algn="l" defTabSz="957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5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5.png"/><Relationship Id="rId4" Type="http://schemas.openxmlformats.org/officeDocument/2006/relationships/oleObject" Target="../embeddings/oleObject6.bin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Обложка_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21057" name="think-cell Slide" r:id="rId4" imgW="360" imgH="360" progId="">
              <p:embed/>
            </p:oleObj>
          </a:graphicData>
        </a:graphic>
      </p:graphicFrame>
      <p:pic>
        <p:nvPicPr>
          <p:cNvPr id="7" name="Рисунок 8"/>
          <p:cNvPicPr>
            <a:picLocks noChangeAspect="1"/>
          </p:cNvPicPr>
          <p:nvPr userDrawn="1"/>
        </p:nvPicPr>
        <p:blipFill>
          <a:blip r:embed="rId5"/>
          <a:srcRect r="22641"/>
          <a:stretch>
            <a:fillRect/>
          </a:stretch>
        </p:blipFill>
        <p:spPr bwMode="auto">
          <a:xfrm>
            <a:off x="6645275" y="0"/>
            <a:ext cx="3260725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Прямая соединительная линия 2"/>
          <p:cNvCxnSpPr/>
          <p:nvPr userDrawn="1"/>
        </p:nvCxnSpPr>
        <p:spPr>
          <a:xfrm>
            <a:off x="6645275" y="0"/>
            <a:ext cx="0" cy="6858000"/>
          </a:xfrm>
          <a:prstGeom prst="line">
            <a:avLst/>
          </a:prstGeom>
          <a:ln w="50800" cmpd="sng">
            <a:solidFill>
              <a:srgbClr val="F68B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6"/>
          <a:srcRect l="-5348" t="-22063" r="-5682" b="-21219"/>
          <a:stretch>
            <a:fillRect/>
          </a:stretch>
        </p:blipFill>
        <p:spPr bwMode="auto">
          <a:xfrm>
            <a:off x="223838" y="247650"/>
            <a:ext cx="2505075" cy="6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4488" y="3392996"/>
            <a:ext cx="6228000" cy="1470025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4000"/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488" y="4931144"/>
            <a:ext cx="6228000" cy="326553"/>
          </a:xfrm>
          <a:prstGeom prst="rect">
            <a:avLst/>
          </a:prstGeom>
        </p:spPr>
        <p:txBody>
          <a:bodyPr rIns="35997" rtlCol="0">
            <a:noAutofit/>
          </a:bodyPr>
          <a:lstStyle>
            <a:lvl1pPr>
              <a:defRPr lang="en-GB" sz="180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0"/>
          </p:nvPr>
        </p:nvSpPr>
        <p:spPr>
          <a:xfrm>
            <a:off x="344488" y="5864319"/>
            <a:ext cx="6228000" cy="295551"/>
          </a:xfrm>
          <a:prstGeom prst="rect">
            <a:avLst/>
          </a:prstGeom>
        </p:spPr>
        <p:txBody>
          <a:bodyPr rIns="35997" anchor="ctr">
            <a:noAutofit/>
          </a:bodyPr>
          <a:lstStyle>
            <a:lvl1pPr marL="0" indent="0">
              <a:spcBef>
                <a:spcPts val="0"/>
              </a:spcBef>
              <a:buNone/>
              <a:defRPr sz="15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1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3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4"/>
          </p:nvPr>
        </p:nvSpPr>
        <p:spPr>
          <a:xfrm>
            <a:off x="344488" y="5317667"/>
            <a:ext cx="6228000" cy="506895"/>
          </a:xfrm>
          <a:prstGeom prst="rect">
            <a:avLst/>
          </a:prstGeom>
        </p:spPr>
        <p:txBody>
          <a:bodyPr rIns="35997" anchor="b">
            <a:noAutofit/>
          </a:bodyPr>
          <a:lstStyle>
            <a:lvl1pPr marL="0" indent="0">
              <a:spcBef>
                <a:spcPts val="0"/>
              </a:spcBef>
              <a:buNone/>
              <a:defRPr sz="15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1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3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3" grpId="0" build="p" autoUpdateAnimBg="0"/>
      <p:bldP spid="11" grpId="0" build="p" autoUpdateAnimBg="0"/>
      <p:bldP spid="12" grpId="0" build="p" autoUpdateAnimBg="0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график слева , текс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9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3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036825" y="1141413"/>
            <a:ext cx="4524688" cy="5175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4"/>
          </p:nvPr>
        </p:nvSpPr>
        <p:spPr>
          <a:xfrm>
            <a:off x="344489" y="1141413"/>
            <a:ext cx="4524688" cy="517525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0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AAEB49-880A-4F47-898D-1AC1F351ADE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8" grpId="0" build="p" autoUpdateAnimBg="0"/>
      <p:bldP spid="4" grpId="0" build="p" autoUpdateAnimBg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/>
          <p:nvPr userDrawn="1"/>
        </p:nvCxnSpPr>
        <p:spPr>
          <a:xfrm>
            <a:off x="344488" y="3429000"/>
            <a:ext cx="9217025" cy="0"/>
          </a:xfrm>
          <a:prstGeom prst="line">
            <a:avLst/>
          </a:prstGeom>
          <a:ln w="444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9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489" y="1640074"/>
            <a:ext cx="9217024" cy="1692771"/>
          </a:xfrm>
        </p:spPr>
        <p:txBody>
          <a:bodyPr/>
          <a:lstStyle>
            <a:lvl1pPr>
              <a:defRPr sz="5500"/>
            </a:lvl1pPr>
          </a:lstStyle>
          <a:p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7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49E958-C9A7-4E9C-80E3-D760A73D126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Послед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2"/>
          <a:srcRect l="-5348" t="-22063" r="-5682" b="-21219"/>
          <a:stretch>
            <a:fillRect/>
          </a:stretch>
        </p:blipFill>
        <p:spPr bwMode="auto">
          <a:xfrm>
            <a:off x="223838" y="247650"/>
            <a:ext cx="2505075" cy="6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Заголовок 13"/>
          <p:cNvSpPr>
            <a:spLocks noGrp="1"/>
          </p:cNvSpPr>
          <p:nvPr>
            <p:ph type="title"/>
          </p:nvPr>
        </p:nvSpPr>
        <p:spPr>
          <a:xfrm>
            <a:off x="344488" y="4880578"/>
            <a:ext cx="4524689" cy="1454244"/>
          </a:xfrm>
          <a:prstGeom prst="rect">
            <a:avLst/>
          </a:prstGeom>
        </p:spPr>
        <p:txBody>
          <a:bodyPr/>
          <a:lstStyle>
            <a:lvl1pPr algn="l">
              <a:defRPr sz="18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utoUpdateAnimBg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1 графи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Chart Placeholder 3"/>
          <p:cNvSpPr>
            <a:spLocks noGrp="1"/>
          </p:cNvSpPr>
          <p:nvPr>
            <p:ph type="chart" sz="quarter" idx="14"/>
          </p:nvPr>
        </p:nvSpPr>
        <p:spPr>
          <a:xfrm>
            <a:off x="344489" y="1141413"/>
            <a:ext cx="9217024" cy="517525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en-GB" noProof="0" dirty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F4A034-000E-4000-A805-575C72F99B8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4" grpId="0" build="p" autoUpdateAnimBg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 текст , 2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18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6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5036825" y="1141413"/>
            <a:ext cx="4524688" cy="49410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489" y="1141413"/>
            <a:ext cx="4524688" cy="244800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5036825" y="6191046"/>
            <a:ext cx="4524688" cy="12561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344489" y="3744914"/>
            <a:ext cx="4519611" cy="233750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344489" y="6191046"/>
            <a:ext cx="4519611" cy="12561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6" name="Slide Number Placeholder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B077CF-BCE2-4BAF-9DDB-E8A0AE706A0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5" grpId="0" build="p" autoUpdateAnimBg="0"/>
      <p:bldP spid="8" grpId="0" build="p" autoUpdateAnimBg="0"/>
      <p:bldP spid="14" grpId="0" build="p" autoUpdateAnimBg="0"/>
      <p:bldP spid="13" grpId="0" build="p" autoUpdateAnimBg="0"/>
      <p:bldP spid="15" grpId="0" build="p" autoUpdateAnimBg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2 фото сверху, 2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20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7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344489" y="1141411"/>
            <a:ext cx="4524688" cy="2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489" y="3860801"/>
            <a:ext cx="4524688" cy="245586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036825" y="3860801"/>
            <a:ext cx="4524688" cy="245586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4489" y="3605914"/>
            <a:ext cx="4524688" cy="12311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36825" y="1141411"/>
            <a:ext cx="4524688" cy="2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5036825" y="3605914"/>
            <a:ext cx="4524688" cy="12311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7" name="Slide Number Placeholder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59CCEE-B3FE-4531-A75E-62BBB881B6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5" grpId="0" build="p" autoUpdateAnimBg="0"/>
      <p:bldP spid="8" grpId="0" build="p" autoUpdateAnimBg="0"/>
      <p:bldP spid="13" grpId="0" build="p" autoUpdateAnimBg="0"/>
      <p:bldP spid="14" grpId="0" build="p" autoUpdateAnimBg="0"/>
      <p:bldP spid="15" grpId="0" build="p" autoUpdateAnimBg="0"/>
      <p:bldP spid="16" grpId="0" build="p" autoUpdateAnimBg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 графики, 2 текста в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36417" name="think-cell Slide" r:id="rId4" imgW="360" imgH="360" progId="">
              <p:embed/>
            </p:oleObj>
          </a:graphicData>
        </a:graphic>
      </p:graphicFrame>
      <p:cxnSp>
        <p:nvCxnSpPr>
          <p:cNvPr id="15" name="Straight Connector 5"/>
          <p:cNvCxnSpPr/>
          <p:nvPr userDrawn="1"/>
        </p:nvCxnSpPr>
        <p:spPr>
          <a:xfrm>
            <a:off x="325438" y="1449388"/>
            <a:ext cx="45212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25"/>
          <p:cNvCxnSpPr/>
          <p:nvPr userDrawn="1"/>
        </p:nvCxnSpPr>
        <p:spPr>
          <a:xfrm>
            <a:off x="5043488" y="1449388"/>
            <a:ext cx="451961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29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2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"/>
          <p:cNvPicPr>
            <a:picLocks noChangeAspect="1" noChangeArrowheads="1"/>
          </p:cNvPicPr>
          <p:nvPr userDrawn="1"/>
        </p:nvPicPr>
        <p:blipFill>
          <a:blip r:embed="rId5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Chart Placeholder 3"/>
          <p:cNvSpPr>
            <a:spLocks noGrp="1"/>
          </p:cNvSpPr>
          <p:nvPr>
            <p:ph type="chart" sz="quarter" idx="18"/>
          </p:nvPr>
        </p:nvSpPr>
        <p:spPr>
          <a:xfrm>
            <a:off x="344488" y="1752032"/>
            <a:ext cx="4521981" cy="1980784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en-GB" noProof="0" dirty="0"/>
          </a:p>
        </p:txBody>
      </p:sp>
      <p:sp>
        <p:nvSpPr>
          <p:cNvPr id="19" name="Chart Placeholder 3"/>
          <p:cNvSpPr>
            <a:spLocks noGrp="1"/>
          </p:cNvSpPr>
          <p:nvPr>
            <p:ph type="chart" sz="quarter" idx="19"/>
          </p:nvPr>
        </p:nvSpPr>
        <p:spPr>
          <a:xfrm>
            <a:off x="5041900" y="2376604"/>
            <a:ext cx="1404157" cy="1356212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7195" y="3860799"/>
            <a:ext cx="4521981" cy="2455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041900" y="3860799"/>
            <a:ext cx="4521981" cy="2455864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24904" y="1148900"/>
            <a:ext cx="4521981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1800" b="1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5041900" y="1148900"/>
            <a:ext cx="4521981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1800" b="1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4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24904" y="1463083"/>
            <a:ext cx="4521981" cy="1972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900"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41900" y="1463083"/>
            <a:ext cx="4521981" cy="1972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900"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8" name="Chart Placeholder 3"/>
          <p:cNvSpPr>
            <a:spLocks noGrp="1"/>
          </p:cNvSpPr>
          <p:nvPr>
            <p:ph type="chart" sz="quarter" idx="24"/>
          </p:nvPr>
        </p:nvSpPr>
        <p:spPr>
          <a:xfrm>
            <a:off x="6599628" y="2376604"/>
            <a:ext cx="1404157" cy="1356212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29" name="Chart Placeholder 3"/>
          <p:cNvSpPr>
            <a:spLocks noGrp="1"/>
          </p:cNvSpPr>
          <p:nvPr>
            <p:ph type="chart" sz="quarter" idx="25"/>
          </p:nvPr>
        </p:nvSpPr>
        <p:spPr>
          <a:xfrm>
            <a:off x="8157356" y="2376604"/>
            <a:ext cx="1404157" cy="1356212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26" name="Footer Placeholder 10"/>
          <p:cNvSpPr>
            <a:spLocks noGrp="1"/>
          </p:cNvSpPr>
          <p:nvPr>
            <p:ph type="ftr" sz="quarter" idx="2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27" name="Slide Number Placeholder 11"/>
          <p:cNvSpPr>
            <a:spLocks noGrp="1"/>
          </p:cNvSpPr>
          <p:nvPr>
            <p:ph type="sldNum" sz="quarter" idx="2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FA702E-8C4C-4795-BCB6-7A13E9DEDB9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6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 autoUpdateAnimBg="0"/>
      <p:bldP spid="19" grpId="0" build="p" autoUpdateAnimBg="0"/>
      <p:bldP spid="2" grpId="0" autoUpdateAnimBg="0"/>
      <p:bldP spid="8" grpId="0" build="p" autoUpdateAnimBg="0"/>
      <p:bldP spid="13" grpId="0" build="p" autoUpdateAnimBg="0"/>
      <p:bldP spid="17" grpId="0" build="p" autoUpdateAnimBg="0"/>
      <p:bldP spid="21" grpId="0" build="p" autoUpdateAnimBg="0"/>
      <p:bldP spid="24" grpId="0" build="p" autoUpdateAnimBg="0"/>
      <p:bldP spid="25" grpId="0" build="p" autoUpdateAnimBg="0"/>
      <p:bldP spid="28" grpId="0" build="p" autoUpdateAnimBg="0"/>
      <p:bldP spid="29" grpId="0" build="p" autoUpdateAnimBg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 4 графи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37441" name="think-cell Slide" r:id="rId4" imgW="360" imgH="360" progId="">
              <p:embed/>
            </p:oleObj>
          </a:graphicData>
        </a:graphic>
      </p:graphicFrame>
      <p:cxnSp>
        <p:nvCxnSpPr>
          <p:cNvPr id="16" name="Straight Connector 40"/>
          <p:cNvCxnSpPr/>
          <p:nvPr userDrawn="1"/>
        </p:nvCxnSpPr>
        <p:spPr>
          <a:xfrm>
            <a:off x="325438" y="1449388"/>
            <a:ext cx="45212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41"/>
          <p:cNvCxnSpPr/>
          <p:nvPr userDrawn="1"/>
        </p:nvCxnSpPr>
        <p:spPr>
          <a:xfrm>
            <a:off x="5043488" y="1449388"/>
            <a:ext cx="451961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52"/>
          <p:cNvCxnSpPr/>
          <p:nvPr userDrawn="1"/>
        </p:nvCxnSpPr>
        <p:spPr>
          <a:xfrm>
            <a:off x="325438" y="4151313"/>
            <a:ext cx="45212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53"/>
          <p:cNvCxnSpPr/>
          <p:nvPr userDrawn="1"/>
        </p:nvCxnSpPr>
        <p:spPr>
          <a:xfrm>
            <a:off x="5043488" y="4151313"/>
            <a:ext cx="451961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4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5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Picture 2"/>
          <p:cNvPicPr>
            <a:picLocks noChangeAspect="1" noChangeArrowheads="1"/>
          </p:cNvPicPr>
          <p:nvPr userDrawn="1"/>
        </p:nvPicPr>
        <p:blipFill>
          <a:blip r:embed="rId5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Chart Placeholder 3"/>
          <p:cNvSpPr>
            <a:spLocks noGrp="1"/>
          </p:cNvSpPr>
          <p:nvPr>
            <p:ph type="chart" sz="quarter" idx="18"/>
          </p:nvPr>
        </p:nvSpPr>
        <p:spPr>
          <a:xfrm>
            <a:off x="344488" y="1687502"/>
            <a:ext cx="4521981" cy="1906069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800"/>
            </a:lvl1pPr>
          </a:lstStyle>
          <a:p>
            <a:pPr lvl="0"/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22" name="Chart Placeholder 3"/>
          <p:cNvSpPr>
            <a:spLocks noGrp="1"/>
          </p:cNvSpPr>
          <p:nvPr>
            <p:ph type="chart" sz="quarter" idx="24"/>
          </p:nvPr>
        </p:nvSpPr>
        <p:spPr>
          <a:xfrm>
            <a:off x="5041900" y="1687502"/>
            <a:ext cx="4521981" cy="1906069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800"/>
            </a:lvl1pPr>
          </a:lstStyle>
          <a:p>
            <a:pPr lvl="0"/>
            <a:endParaRPr lang="en-GB" noProof="0" dirty="0"/>
          </a:p>
        </p:txBody>
      </p:sp>
      <p:sp>
        <p:nvSpPr>
          <p:cNvPr id="23" name="Chart Placeholder 3"/>
          <p:cNvSpPr>
            <a:spLocks noGrp="1"/>
          </p:cNvSpPr>
          <p:nvPr>
            <p:ph type="chart" sz="quarter" idx="25"/>
          </p:nvPr>
        </p:nvSpPr>
        <p:spPr>
          <a:xfrm>
            <a:off x="344488" y="4410593"/>
            <a:ext cx="4521981" cy="1906069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800"/>
            </a:lvl1pPr>
          </a:lstStyle>
          <a:p>
            <a:pPr lvl="0"/>
            <a:endParaRPr lang="en-GB" noProof="0" dirty="0"/>
          </a:p>
        </p:txBody>
      </p:sp>
      <p:sp>
        <p:nvSpPr>
          <p:cNvPr id="35" name="Chart Placeholder 3"/>
          <p:cNvSpPr>
            <a:spLocks noGrp="1"/>
          </p:cNvSpPr>
          <p:nvPr>
            <p:ph type="chart" sz="quarter" idx="30"/>
          </p:nvPr>
        </p:nvSpPr>
        <p:spPr>
          <a:xfrm>
            <a:off x="5041900" y="4410593"/>
            <a:ext cx="4521981" cy="1906069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800"/>
            </a:lvl1pPr>
          </a:lstStyle>
          <a:p>
            <a:pPr lvl="0"/>
            <a:endParaRPr lang="en-GB" noProof="0" dirty="0"/>
          </a:p>
        </p:txBody>
      </p:sp>
      <p:sp>
        <p:nvSpPr>
          <p:cNvPr id="37" name="Text Placeholder 7"/>
          <p:cNvSpPr>
            <a:spLocks noGrp="1"/>
          </p:cNvSpPr>
          <p:nvPr>
            <p:ph type="body" sz="quarter" idx="20"/>
          </p:nvPr>
        </p:nvSpPr>
        <p:spPr>
          <a:xfrm>
            <a:off x="324904" y="1148900"/>
            <a:ext cx="4521981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1800" b="1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8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5041900" y="1148900"/>
            <a:ext cx="4521981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1800" b="1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9" name="Text Placeholder 7"/>
          <p:cNvSpPr>
            <a:spLocks noGrp="1"/>
          </p:cNvSpPr>
          <p:nvPr>
            <p:ph type="body" sz="quarter" idx="22"/>
          </p:nvPr>
        </p:nvSpPr>
        <p:spPr>
          <a:xfrm>
            <a:off x="324904" y="1463083"/>
            <a:ext cx="4521981" cy="1972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900"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0" name="Text Placeholder 7"/>
          <p:cNvSpPr>
            <a:spLocks noGrp="1"/>
          </p:cNvSpPr>
          <p:nvPr>
            <p:ph type="body" sz="quarter" idx="23"/>
          </p:nvPr>
        </p:nvSpPr>
        <p:spPr>
          <a:xfrm>
            <a:off x="5041900" y="1463083"/>
            <a:ext cx="4521981" cy="1972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900"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9" name="Text Placeholder 7"/>
          <p:cNvSpPr>
            <a:spLocks noGrp="1"/>
          </p:cNvSpPr>
          <p:nvPr>
            <p:ph type="body" sz="quarter" idx="31"/>
          </p:nvPr>
        </p:nvSpPr>
        <p:spPr>
          <a:xfrm>
            <a:off x="324904" y="3849766"/>
            <a:ext cx="4521981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1800" b="1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0" name="Text Placeholder 7"/>
          <p:cNvSpPr>
            <a:spLocks noGrp="1"/>
          </p:cNvSpPr>
          <p:nvPr>
            <p:ph type="body" sz="quarter" idx="32"/>
          </p:nvPr>
        </p:nvSpPr>
        <p:spPr>
          <a:xfrm>
            <a:off x="5041900" y="3849766"/>
            <a:ext cx="4521981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1800" b="1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1" name="Text Placeholder 7"/>
          <p:cNvSpPr>
            <a:spLocks noGrp="1"/>
          </p:cNvSpPr>
          <p:nvPr>
            <p:ph type="body" sz="quarter" idx="33"/>
          </p:nvPr>
        </p:nvSpPr>
        <p:spPr>
          <a:xfrm>
            <a:off x="324904" y="4163949"/>
            <a:ext cx="4521981" cy="1972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900"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2" name="Text Placeholder 7"/>
          <p:cNvSpPr>
            <a:spLocks noGrp="1"/>
          </p:cNvSpPr>
          <p:nvPr>
            <p:ph type="body" sz="quarter" idx="34"/>
          </p:nvPr>
        </p:nvSpPr>
        <p:spPr>
          <a:xfrm>
            <a:off x="5041900" y="4163949"/>
            <a:ext cx="4521981" cy="1972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900"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6" name="Footer Placeholder 10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27" name="Slide Number Placeholder 11"/>
          <p:cNvSpPr>
            <a:spLocks noGrp="1"/>
          </p:cNvSpPr>
          <p:nvPr>
            <p:ph type="sldNum" sz="quarter" idx="3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347C8D-DC65-433F-926A-1E51649B37F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p" autoUpdateAnimBg="0"/>
      <p:bldP spid="2" grpId="0" autoUpdateAnimBg="0"/>
      <p:bldP spid="22" grpId="0" build="p" autoUpdateAnimBg="0"/>
      <p:bldP spid="23" grpId="0" build="p" autoUpdateAnimBg="0"/>
      <p:bldP spid="35" grpId="0" build="p" autoUpdateAnimBg="0"/>
      <p:bldP spid="37" grpId="0" build="p" autoUpdateAnimBg="0"/>
      <p:bldP spid="38" grpId="0" build="p" autoUpdateAnimBg="0"/>
      <p:bldP spid="39" grpId="0" build="p" autoUpdateAnimBg="0"/>
      <p:bldP spid="40" grpId="0" build="p" autoUpdateAnimBg="0"/>
      <p:bldP spid="49" grpId="0" build="p" autoUpdateAnimBg="0"/>
      <p:bldP spid="50" grpId="0" build="p" autoUpdateAnimBg="0"/>
      <p:bldP spid="51" grpId="0" build="p" autoUpdateAnimBg="0"/>
      <p:bldP spid="52" grpId="0" build="p" autoUpdateAnimBg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 2 текста вверху, 2 графика в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38465" name="think-cell Slide" r:id="rId4" imgW="360" imgH="360" progId="">
              <p:embed/>
            </p:oleObj>
          </a:graphicData>
        </a:graphic>
      </p:graphicFrame>
      <p:cxnSp>
        <p:nvCxnSpPr>
          <p:cNvPr id="12" name="Straight Connector 32"/>
          <p:cNvCxnSpPr/>
          <p:nvPr userDrawn="1"/>
        </p:nvCxnSpPr>
        <p:spPr>
          <a:xfrm>
            <a:off x="325438" y="3838575"/>
            <a:ext cx="45212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33"/>
          <p:cNvCxnSpPr/>
          <p:nvPr userDrawn="1"/>
        </p:nvCxnSpPr>
        <p:spPr>
          <a:xfrm>
            <a:off x="5043488" y="3838575"/>
            <a:ext cx="451961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20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8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5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489" y="1141413"/>
            <a:ext cx="4524688" cy="22776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036826" y="1141413"/>
            <a:ext cx="4524688" cy="22776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27" name="Chart Placeholder 3"/>
          <p:cNvSpPr>
            <a:spLocks noGrp="1"/>
          </p:cNvSpPr>
          <p:nvPr>
            <p:ph type="chart" sz="quarter" idx="25"/>
          </p:nvPr>
        </p:nvSpPr>
        <p:spPr>
          <a:xfrm>
            <a:off x="344488" y="4160838"/>
            <a:ext cx="4521981" cy="2155825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800"/>
            </a:lvl1pPr>
          </a:lstStyle>
          <a:p>
            <a:pPr lvl="0"/>
            <a:endParaRPr lang="en-GB" noProof="0" dirty="0"/>
          </a:p>
        </p:txBody>
      </p:sp>
      <p:sp>
        <p:nvSpPr>
          <p:cNvPr id="28" name="Chart Placeholder 3"/>
          <p:cNvSpPr>
            <a:spLocks noGrp="1"/>
          </p:cNvSpPr>
          <p:nvPr>
            <p:ph type="chart" sz="quarter" idx="30"/>
          </p:nvPr>
        </p:nvSpPr>
        <p:spPr>
          <a:xfrm>
            <a:off x="5041900" y="4160838"/>
            <a:ext cx="4521981" cy="2155825"/>
          </a:xfrm>
          <a:prstGeom prst="rect">
            <a:avLst/>
          </a:prstGeom>
        </p:spPr>
        <p:txBody>
          <a:bodyPr rtlCol="0">
            <a:normAutofit/>
          </a:bodyPr>
          <a:lstStyle>
            <a:lvl1pPr>
              <a:defRPr sz="800"/>
            </a:lvl1pPr>
          </a:lstStyle>
          <a:p>
            <a:pPr lvl="0"/>
            <a:endParaRPr lang="en-GB" noProof="0" dirty="0"/>
          </a:p>
        </p:txBody>
      </p:sp>
      <p:sp>
        <p:nvSpPr>
          <p:cNvPr id="29" name="Text Placeholder 7"/>
          <p:cNvSpPr>
            <a:spLocks noGrp="1"/>
          </p:cNvSpPr>
          <p:nvPr>
            <p:ph type="body" sz="quarter" idx="31"/>
          </p:nvPr>
        </p:nvSpPr>
        <p:spPr>
          <a:xfrm>
            <a:off x="324904" y="3536950"/>
            <a:ext cx="4521981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1800" b="1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0" name="Text Placeholder 7"/>
          <p:cNvSpPr>
            <a:spLocks noGrp="1"/>
          </p:cNvSpPr>
          <p:nvPr>
            <p:ph type="body" sz="quarter" idx="32"/>
          </p:nvPr>
        </p:nvSpPr>
        <p:spPr>
          <a:xfrm>
            <a:off x="5041900" y="3536950"/>
            <a:ext cx="4521981" cy="2880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1800" b="1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1" name="Text Placeholder 7"/>
          <p:cNvSpPr>
            <a:spLocks noGrp="1"/>
          </p:cNvSpPr>
          <p:nvPr>
            <p:ph type="body" sz="quarter" idx="33"/>
          </p:nvPr>
        </p:nvSpPr>
        <p:spPr>
          <a:xfrm>
            <a:off x="324904" y="3851133"/>
            <a:ext cx="4521981" cy="1972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900"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2" name="Text Placeholder 7"/>
          <p:cNvSpPr>
            <a:spLocks noGrp="1"/>
          </p:cNvSpPr>
          <p:nvPr>
            <p:ph type="body" sz="quarter" idx="34"/>
          </p:nvPr>
        </p:nvSpPr>
        <p:spPr>
          <a:xfrm>
            <a:off x="5041900" y="3851133"/>
            <a:ext cx="4521981" cy="1972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None/>
              <a:defRPr sz="900" b="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b="1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b="1"/>
            </a:lvl5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18" name="Footer Placeholder 10"/>
          <p:cNvSpPr>
            <a:spLocks noGrp="1"/>
          </p:cNvSpPr>
          <p:nvPr>
            <p:ph type="ftr" sz="quarter" idx="3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9" name="Slide Number Placeholder 11"/>
          <p:cNvSpPr>
            <a:spLocks noGrp="1"/>
          </p:cNvSpPr>
          <p:nvPr>
            <p:ph type="sldNum" sz="quarter" idx="3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B4086C-51B7-4865-9686-4F0E1A5468F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 autoUpdateAnimBg="0"/>
      <p:bldP spid="13" grpId="0" build="p" autoUpdateAnimBg="0"/>
      <p:bldP spid="27" grpId="0" build="p" autoUpdateAnimBg="0"/>
      <p:bldP spid="28" grpId="0" build="p" autoUpdateAnimBg="0"/>
      <p:bldP spid="29" grpId="0" build="p" autoUpdateAnimBg="0"/>
      <p:bldP spid="30" grpId="0" build="p" autoUpdateAnimBg="0"/>
      <p:bldP spid="31" grpId="0" build="p" autoUpdateAnimBg="0"/>
      <p:bldP spid="32" grpId="0" build="p" autoUpdateAnimBg="0"/>
      <p:bldP spid="4" grpId="0" autoUpdateAnimBg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2 текста вверху, 2 фото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19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7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344489" y="3540125"/>
            <a:ext cx="4524688" cy="25518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489" y="1141413"/>
            <a:ext cx="4524688" cy="22875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036826" y="1141413"/>
            <a:ext cx="4524688" cy="2287588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4489" y="6184464"/>
            <a:ext cx="4524688" cy="12561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36826" y="3540125"/>
            <a:ext cx="4524688" cy="255189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5036826" y="6184464"/>
            <a:ext cx="4524688" cy="12561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7" name="Slide Number Placeholder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44AEAF-7751-432D-9739-C9C9D1C8F99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 autoUpdateAnimBg="0"/>
      <p:bldP spid="8" grpId="0" build="p" autoUpdateAnimBg="0"/>
      <p:bldP spid="13" grpId="0" build="p" autoUpdateAnimBg="0"/>
      <p:bldP spid="14" grpId="0" build="p" autoUpdateAnimBg="0"/>
      <p:bldP spid="15" grpId="0" build="p" autoUpdateAnimBg="0"/>
      <p:bldP spid="16" grpId="0" build="p" autoUpdateAnimBg="0"/>
      <p:bldP spid="3" grpId="0" autoUpdateAnimBg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Обложка_фото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22081" name="think-cell Slide" r:id="rId4" imgW="360" imgH="360" progId="">
              <p:embed/>
            </p:oleObj>
          </a:graphicData>
        </a:graphic>
      </p:graphicFrame>
      <p:cxnSp>
        <p:nvCxnSpPr>
          <p:cNvPr id="8" name="Прямая соединительная линия 2"/>
          <p:cNvCxnSpPr/>
          <p:nvPr userDrawn="1"/>
        </p:nvCxnSpPr>
        <p:spPr>
          <a:xfrm>
            <a:off x="6645275" y="0"/>
            <a:ext cx="0" cy="6858000"/>
          </a:xfrm>
          <a:prstGeom prst="line">
            <a:avLst/>
          </a:prstGeom>
          <a:ln w="50800" cmpd="sng">
            <a:solidFill>
              <a:srgbClr val="F68B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5"/>
          <a:srcRect l="-5348" t="-22063" r="-5682" b="-21219"/>
          <a:stretch>
            <a:fillRect/>
          </a:stretch>
        </p:blipFill>
        <p:spPr bwMode="auto">
          <a:xfrm>
            <a:off x="223838" y="247650"/>
            <a:ext cx="2505075" cy="6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4488" y="3400043"/>
            <a:ext cx="6220856" cy="1470025"/>
          </a:xfrm>
        </p:spPr>
        <p:txBody>
          <a:bodyPr rtlCol="0">
            <a:noAutofit/>
          </a:bodyPr>
          <a:lstStyle>
            <a:lvl1pPr>
              <a:defRPr lang="en-GB" sz="4000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488" y="4931144"/>
            <a:ext cx="6220856" cy="326553"/>
          </a:xfrm>
          <a:prstGeom prst="rect">
            <a:avLst/>
          </a:prstGeom>
        </p:spPr>
        <p:txBody>
          <a:bodyPr rIns="35997" rtlCol="0">
            <a:noAutofit/>
          </a:bodyPr>
          <a:lstStyle>
            <a:lvl1pPr>
              <a:defRPr lang="en-GB" sz="180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0"/>
          </p:nvPr>
        </p:nvSpPr>
        <p:spPr>
          <a:xfrm>
            <a:off x="344488" y="5864319"/>
            <a:ext cx="6220856" cy="295551"/>
          </a:xfrm>
          <a:prstGeom prst="rect">
            <a:avLst/>
          </a:prstGeom>
        </p:spPr>
        <p:txBody>
          <a:bodyPr rIns="35997" anchor="ctr">
            <a:noAutofit/>
          </a:bodyPr>
          <a:lstStyle>
            <a:lvl1pPr marL="0" indent="0">
              <a:spcBef>
                <a:spcPts val="0"/>
              </a:spcBef>
              <a:buNone/>
              <a:defRPr sz="15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1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3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4"/>
          </p:nvPr>
        </p:nvSpPr>
        <p:spPr>
          <a:xfrm>
            <a:off x="344488" y="5317667"/>
            <a:ext cx="6220856" cy="506895"/>
          </a:xfrm>
          <a:prstGeom prst="rect">
            <a:avLst/>
          </a:prstGeom>
        </p:spPr>
        <p:txBody>
          <a:bodyPr rIns="35997" anchor="b">
            <a:noAutofit/>
          </a:bodyPr>
          <a:lstStyle>
            <a:lvl1pPr marL="0" indent="0">
              <a:spcBef>
                <a:spcPts val="0"/>
              </a:spcBef>
              <a:buNone/>
              <a:defRPr sz="15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1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3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658604" y="0"/>
            <a:ext cx="3247396" cy="6858000"/>
          </a:xfrm>
          <a:prstGeom prst="rect">
            <a:avLst/>
          </a:prstGeom>
        </p:spPr>
        <p:txBody>
          <a:bodyPr rtlCol="0" anchor="ctr">
            <a:normAutofit/>
          </a:bodyPr>
          <a:lstStyle>
            <a:lvl1pPr algn="ctr">
              <a:defRPr/>
            </a:lvl1pPr>
          </a:lstStyle>
          <a:p>
            <a:pPr lvl="0"/>
            <a:endParaRPr lang="en-GB" noProof="0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3" grpId="0" build="p" autoUpdateAnimBg="0"/>
      <p:bldP spid="11" grpId="0" build="p" autoUpdateAnimBg="0"/>
      <p:bldP spid="12" grpId="0" build="p" autoUpdateAnimBg="0"/>
      <p:bldP spid="5" grpId="0" build="p" autoUpdateAnimBg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текст слева, 2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18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14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5041900" y="1148900"/>
            <a:ext cx="4524688" cy="223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489" y="1141413"/>
            <a:ext cx="4524688" cy="5175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5041900" y="6191046"/>
            <a:ext cx="4524688" cy="12561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41900" y="3929936"/>
            <a:ext cx="4524688" cy="2232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5041900" y="3409688"/>
            <a:ext cx="4524688" cy="12561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Footer Placeholder 10"/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3" name="Slide Number Placeholder 11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4C37DC-5506-42DF-B1EA-4403E71233F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5" grpId="0" build="p" autoUpdateAnimBg="0"/>
      <p:bldP spid="8" grpId="0" build="p" autoUpdateAnimBg="0"/>
      <p:bldP spid="14" grpId="0" build="p" autoUpdateAnimBg="0"/>
      <p:bldP spid="16" grpId="0" build="p" autoUpdateAnimBg="0"/>
      <p:bldP spid="17" grpId="0" build="p" autoUpdateAnimBg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4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22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20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5033504" y="3839187"/>
            <a:ext cx="4528009" cy="23335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5033504" y="6191046"/>
            <a:ext cx="4528009" cy="12561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5033504" y="1141413"/>
            <a:ext cx="4528009" cy="23529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5033504" y="3533628"/>
            <a:ext cx="4528009" cy="12561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8"/>
          </p:nvPr>
        </p:nvSpPr>
        <p:spPr>
          <a:xfrm>
            <a:off x="344488" y="3839187"/>
            <a:ext cx="4528009" cy="233358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9"/>
          </p:nvPr>
        </p:nvSpPr>
        <p:spPr>
          <a:xfrm>
            <a:off x="344488" y="6191046"/>
            <a:ext cx="4528009" cy="12561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20"/>
          </p:nvPr>
        </p:nvSpPr>
        <p:spPr>
          <a:xfrm>
            <a:off x="344488" y="1141413"/>
            <a:ext cx="4528009" cy="235291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19" name="Text Placeholder 7"/>
          <p:cNvSpPr>
            <a:spLocks noGrp="1"/>
          </p:cNvSpPr>
          <p:nvPr>
            <p:ph type="body" sz="quarter" idx="21"/>
          </p:nvPr>
        </p:nvSpPr>
        <p:spPr>
          <a:xfrm>
            <a:off x="344488" y="3533628"/>
            <a:ext cx="4528009" cy="12561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1" name="Footer Placeholder 10"/>
          <p:cNvSpPr>
            <a:spLocks noGrp="1"/>
          </p:cNvSpPr>
          <p:nvPr>
            <p:ph type="ftr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22" name="Slide Number Placeholder 11"/>
          <p:cNvSpPr>
            <a:spLocks noGrp="1"/>
          </p:cNvSpPr>
          <p:nvPr>
            <p:ph type="sldNum" sz="quarter" idx="2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38311B-6191-4F53-9879-84FD7644502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5" grpId="0" build="p" autoUpdateAnimBg="0"/>
      <p:bldP spid="14" grpId="0" build="p" autoUpdateAnimBg="0"/>
      <p:bldP spid="16" grpId="0" build="p" autoUpdateAnimBg="0"/>
      <p:bldP spid="17" grpId="0" build="p" autoUpdateAnimBg="0"/>
      <p:bldP spid="13" grpId="0" build="p" autoUpdateAnimBg="0"/>
      <p:bldP spid="15" grpId="0" build="p" autoUpdateAnimBg="0"/>
      <p:bldP spid="18" grpId="0" build="p" autoUpdateAnimBg="0"/>
      <p:bldP spid="19" grpId="0" build="p" autoUpdateAnimBg="0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2"/>
          </p:nvPr>
        </p:nvSpPr>
        <p:spPr>
          <a:xfrm>
            <a:off x="344489" y="1141413"/>
            <a:ext cx="9217024" cy="5175250"/>
          </a:xfrm>
        </p:spPr>
        <p:txBody>
          <a:bodyPr rtlCol="0">
            <a:normAutofit/>
          </a:bodyPr>
          <a:lstStyle/>
          <a:p>
            <a:pPr lvl="0"/>
            <a:endParaRPr lang="ru-RU" noProof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2416C0-4C26-4060-9C4C-ABCE110FD83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4" grpId="0" build="p" autoUpdateAnimBg="0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2 таблиц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9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3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Table Placeholder 3"/>
          <p:cNvSpPr>
            <a:spLocks noGrp="1"/>
          </p:cNvSpPr>
          <p:nvPr>
            <p:ph type="tbl" sz="quarter" idx="12"/>
          </p:nvPr>
        </p:nvSpPr>
        <p:spPr>
          <a:xfrm>
            <a:off x="344489" y="1141413"/>
            <a:ext cx="4524688" cy="5175250"/>
          </a:xfrm>
        </p:spPr>
        <p:txBody>
          <a:bodyPr rtlCol="0">
            <a:normAutofit/>
          </a:bodyPr>
          <a:lstStyle/>
          <a:p>
            <a:pPr lvl="0"/>
            <a:endParaRPr lang="ru-RU" noProof="0"/>
          </a:p>
        </p:txBody>
      </p:sp>
      <p:sp>
        <p:nvSpPr>
          <p:cNvPr id="15" name="Table Placeholder 3"/>
          <p:cNvSpPr>
            <a:spLocks noGrp="1"/>
          </p:cNvSpPr>
          <p:nvPr>
            <p:ph type="tbl" sz="quarter" idx="13"/>
          </p:nvPr>
        </p:nvSpPr>
        <p:spPr>
          <a:xfrm>
            <a:off x="5036825" y="1141413"/>
            <a:ext cx="4524688" cy="5175250"/>
          </a:xfrm>
        </p:spPr>
        <p:txBody>
          <a:bodyPr rtlCol="0">
            <a:normAutofit/>
          </a:bodyPr>
          <a:lstStyle/>
          <a:p>
            <a:pPr lvl="0"/>
            <a:endParaRPr lang="ru-RU" noProof="0"/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A6F929-4F46-42DD-9515-81DB62EBFBB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4" grpId="0" build="p" autoUpdateAnimBg="0"/>
      <p:bldP spid="15" grpId="0" build="p" autoUpdateAnimBg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текст слева, таблиц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9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3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able Placeholder 3"/>
          <p:cNvSpPr>
            <a:spLocks noGrp="1"/>
          </p:cNvSpPr>
          <p:nvPr>
            <p:ph type="tbl" sz="quarter" idx="13"/>
          </p:nvPr>
        </p:nvSpPr>
        <p:spPr>
          <a:xfrm>
            <a:off x="5036825" y="1141413"/>
            <a:ext cx="4524688" cy="5175250"/>
          </a:xfrm>
        </p:spPr>
        <p:txBody>
          <a:bodyPr rtlCol="0">
            <a:normAutofit/>
          </a:bodyPr>
          <a:lstStyle/>
          <a:p>
            <a:pPr lvl="0"/>
            <a:endParaRPr lang="ru-RU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44489" y="1141413"/>
            <a:ext cx="4524688" cy="5175250"/>
          </a:xfrm>
        </p:spPr>
        <p:txBody>
          <a:bodyPr/>
          <a:lstStyle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0" name="Slide Number Placehold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B016BCB-BA9C-487C-9533-CAC0EA645ED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15" grpId="0" build="p" autoUpdateAnimBg="0"/>
      <p:bldP spid="5" grpId="0" build="p" autoUpdateAnimBg="0"/>
    </p:bld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2 текста вверху. 2таблицы в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8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16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able Placeholder 3"/>
          <p:cNvSpPr>
            <a:spLocks noGrp="1"/>
          </p:cNvSpPr>
          <p:nvPr>
            <p:ph type="tbl" sz="quarter" idx="13"/>
          </p:nvPr>
        </p:nvSpPr>
        <p:spPr>
          <a:xfrm>
            <a:off x="344489" y="3536949"/>
            <a:ext cx="4524688" cy="2779714"/>
          </a:xfrm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44489" y="1141413"/>
            <a:ext cx="4524688" cy="2287587"/>
          </a:xfrm>
        </p:spPr>
        <p:txBody>
          <a:bodyPr/>
          <a:lstStyle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13" name="Table Placeholder 3"/>
          <p:cNvSpPr>
            <a:spLocks noGrp="1"/>
          </p:cNvSpPr>
          <p:nvPr>
            <p:ph type="tbl" sz="quarter" idx="15"/>
          </p:nvPr>
        </p:nvSpPr>
        <p:spPr>
          <a:xfrm>
            <a:off x="5036825" y="3536949"/>
            <a:ext cx="4524688" cy="2779714"/>
          </a:xfrm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6825" y="1141413"/>
            <a:ext cx="4524688" cy="2287587"/>
          </a:xfrm>
        </p:spPr>
        <p:txBody>
          <a:bodyPr/>
          <a:lstStyle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D34861-25B3-485A-8FCB-B4FDD8C18B8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15" grpId="0" build="p" autoUpdateAnimBg="0"/>
      <p:bldP spid="5" grpId="0" build="p" autoUpdateAnimBg="0"/>
      <p:bldP spid="13" grpId="0" build="p" autoUpdateAnimBg="0"/>
      <p:bldP spid="14" grpId="0" build="p" autoUpdateAnimBg="0"/>
    </p:bld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2 текста+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7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5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5" name="Table Placeholder 3"/>
          <p:cNvSpPr>
            <a:spLocks noGrp="1"/>
          </p:cNvSpPr>
          <p:nvPr>
            <p:ph type="tbl" sz="quarter" idx="13"/>
          </p:nvPr>
        </p:nvSpPr>
        <p:spPr>
          <a:xfrm>
            <a:off x="344489" y="3536951"/>
            <a:ext cx="4524688" cy="2779712"/>
          </a:xfrm>
        </p:spPr>
        <p:txBody>
          <a:bodyPr rtlCol="0">
            <a:normAutofit/>
          </a:bodyPr>
          <a:lstStyle/>
          <a:p>
            <a:pPr lvl="0"/>
            <a:endParaRPr lang="ru-RU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44489" y="1141412"/>
            <a:ext cx="4524688" cy="2287587"/>
          </a:xfrm>
        </p:spPr>
        <p:txBody>
          <a:bodyPr/>
          <a:lstStyle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5036825" y="1141413"/>
            <a:ext cx="4524688" cy="5175250"/>
          </a:xfrm>
        </p:spPr>
        <p:txBody>
          <a:bodyPr/>
          <a:lstStyle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ru-RU" dirty="0"/>
          </a:p>
        </p:txBody>
      </p:sp>
      <p:sp>
        <p:nvSpPr>
          <p:cNvPr id="9" name="Footer Placeholder 10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0" name="Slide Number Placeholder 1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E7E744-32E3-45D2-9CA0-271CF1A17B7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15" grpId="0" build="p" autoUpdateAnimBg="0"/>
      <p:bldP spid="5" grpId="0" build="p" autoUpdateAnimBg="0"/>
      <p:bldP spid="14" grpId="0" build="p" autoUpdateAnimBg="0"/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Пустой 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8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9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6" name="Footer Placeholder 10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7" name="Slide Number Placeholder 1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742411-F87D-41C2-B761-173CBE56522B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ДОП_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2438400"/>
            <a:ext cx="9759950" cy="1052513"/>
            <a:chOff x="0" y="1536"/>
            <a:chExt cx="5675" cy="663"/>
          </a:xfrm>
        </p:grpSpPr>
        <p:grpSp>
          <p:nvGrpSpPr>
            <p:cNvPr id="5" name="Group 3"/>
            <p:cNvGrpSpPr>
              <a:grpSpLocks/>
            </p:cNvGrpSpPr>
            <p:nvPr/>
          </p:nvGrpSpPr>
          <p:grpSpPr bwMode="auto">
            <a:xfrm>
              <a:off x="184" y="1604"/>
              <a:ext cx="450" cy="299"/>
              <a:chOff x="719" y="336"/>
              <a:chExt cx="626" cy="432"/>
            </a:xfrm>
          </p:grpSpPr>
          <p:sp>
            <p:nvSpPr>
              <p:cNvPr id="12" name="Rectangle 4"/>
              <p:cNvSpPr>
                <a:spLocks noChangeArrowheads="1"/>
              </p:cNvSpPr>
              <p:nvPr/>
            </p:nvSpPr>
            <p:spPr bwMode="auto">
              <a:xfrm>
                <a:off x="719" y="336"/>
                <a:ext cx="385" cy="432"/>
              </a:xfrm>
              <a:prstGeom prst="rect">
                <a:avLst/>
              </a:prstGeom>
              <a:solidFill>
                <a:schemeClr val="folHlink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3" name="Rectangle 5"/>
              <p:cNvSpPr>
                <a:spLocks noChangeArrowheads="1"/>
              </p:cNvSpPr>
              <p:nvPr/>
            </p:nvSpPr>
            <p:spPr bwMode="auto">
              <a:xfrm>
                <a:off x="1056" y="336"/>
                <a:ext cx="289" cy="432"/>
              </a:xfrm>
              <a:prstGeom prst="rect">
                <a:avLst/>
              </a:prstGeom>
              <a:gradFill rotWithShape="0">
                <a:gsLst>
                  <a:gs pos="0">
                    <a:schemeClr val="folHlink"/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/>
              </a:p>
            </p:txBody>
          </p:sp>
        </p:grpSp>
        <p:grpSp>
          <p:nvGrpSpPr>
            <p:cNvPr id="6" name="Group 6"/>
            <p:cNvGrpSpPr>
              <a:grpSpLocks/>
            </p:cNvGrpSpPr>
            <p:nvPr/>
          </p:nvGrpSpPr>
          <p:grpSpPr bwMode="auto">
            <a:xfrm>
              <a:off x="263" y="1870"/>
              <a:ext cx="466" cy="299"/>
              <a:chOff x="912" y="2640"/>
              <a:chExt cx="672" cy="432"/>
            </a:xfrm>
          </p:grpSpPr>
          <p:sp>
            <p:nvSpPr>
              <p:cNvPr id="10" name="Rectangle 7"/>
              <p:cNvSpPr>
                <a:spLocks noChangeArrowheads="1"/>
              </p:cNvSpPr>
              <p:nvPr/>
            </p:nvSpPr>
            <p:spPr bwMode="auto">
              <a:xfrm>
                <a:off x="912" y="2640"/>
                <a:ext cx="385" cy="432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/>
              </a:p>
            </p:txBody>
          </p:sp>
          <p:sp>
            <p:nvSpPr>
              <p:cNvPr id="11" name="Rectangle 8"/>
              <p:cNvSpPr>
                <a:spLocks noChangeArrowheads="1"/>
              </p:cNvSpPr>
              <p:nvPr/>
            </p:nvSpPr>
            <p:spPr bwMode="auto">
              <a:xfrm>
                <a:off x="1249" y="2640"/>
                <a:ext cx="335" cy="432"/>
              </a:xfrm>
              <a:prstGeom prst="rect">
                <a:avLst/>
              </a:prstGeom>
              <a:gradFill rotWithShape="0">
                <a:gsLst>
                  <a:gs pos="0">
                    <a:schemeClr val="accent2"/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ru-RU"/>
              </a:p>
            </p:txBody>
          </p:sp>
        </p:grpSp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0" y="1824"/>
              <a:ext cx="353" cy="266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8" name="Rectangle 10"/>
            <p:cNvSpPr>
              <a:spLocks noChangeArrowheads="1"/>
            </p:cNvSpPr>
            <p:nvPr/>
          </p:nvSpPr>
          <p:spPr bwMode="auto">
            <a:xfrm>
              <a:off x="400" y="1536"/>
              <a:ext cx="20" cy="663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  <p:sp>
          <p:nvSpPr>
            <p:cNvPr id="9" name="Rectangle 11"/>
            <p:cNvSpPr>
              <a:spLocks noChangeArrowheads="1"/>
            </p:cNvSpPr>
            <p:nvPr/>
          </p:nvSpPr>
          <p:spPr bwMode="auto">
            <a:xfrm flipV="1">
              <a:off x="199" y="2054"/>
              <a:ext cx="5476" cy="35"/>
            </a:xfrm>
            <a:prstGeom prst="rect">
              <a:avLst/>
            </a:pr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ru-RU"/>
            </a:p>
          </p:txBody>
        </p:sp>
      </p:grpSp>
      <p:sp>
        <p:nvSpPr>
          <p:cNvPr id="628748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1073150" y="1676400"/>
            <a:ext cx="8420100" cy="1462088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628749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14" name="Rectangle 14"/>
          <p:cNvSpPr>
            <a:spLocks noGrp="1" noChangeArrowheads="1"/>
          </p:cNvSpPr>
          <p:nvPr>
            <p:ph type="dt" sz="half" idx="10"/>
          </p:nvPr>
        </p:nvSpPr>
        <p:spPr>
          <a:xfrm>
            <a:off x="1073150" y="6248400"/>
            <a:ext cx="2063750" cy="45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40892C5B-FE0E-4048-99D4-99C2FF9734D9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15" name="Rectangle 15"/>
          <p:cNvSpPr>
            <a:spLocks noGrp="1" noChangeArrowheads="1"/>
          </p:cNvSpPr>
          <p:nvPr>
            <p:ph type="ftr" sz="quarter" idx="11"/>
          </p:nvPr>
        </p:nvSpPr>
        <p:spPr>
          <a:xfrm>
            <a:off x="3714750" y="6248400"/>
            <a:ext cx="3136900" cy="45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Rectangle 1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429500" y="6248400"/>
            <a:ext cx="2063750" cy="45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F82E8558-A50A-4EB2-B4EE-3059CF04A17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 advTm="10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87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2874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28748" grpId="0" autoUpdateAnimBg="0"/>
      <p:bldP spid="628749" grpId="0" build="p" autoUpdateAnimBg="0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Обложка_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23105" name="think-cell Slide" r:id="rId4" imgW="360" imgH="360" progId="">
              <p:embed/>
            </p:oleObj>
          </a:graphicData>
        </a:graphic>
      </p:graphicFrame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5"/>
          <a:srcRect l="1375" r="2"/>
          <a:stretch>
            <a:fillRect/>
          </a:stretch>
        </p:blipFill>
        <p:spPr bwMode="auto">
          <a:xfrm>
            <a:off x="6657975" y="0"/>
            <a:ext cx="3248025" cy="6856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" name="Прямая соединительная линия 2"/>
          <p:cNvCxnSpPr/>
          <p:nvPr userDrawn="1"/>
        </p:nvCxnSpPr>
        <p:spPr>
          <a:xfrm>
            <a:off x="6645275" y="0"/>
            <a:ext cx="0" cy="6858000"/>
          </a:xfrm>
          <a:prstGeom prst="line">
            <a:avLst/>
          </a:prstGeom>
          <a:ln w="50800" cmpd="sng">
            <a:solidFill>
              <a:srgbClr val="F68B1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6"/>
          <a:srcRect l="-5348" t="-22063" r="-5682" b="-21219"/>
          <a:stretch>
            <a:fillRect/>
          </a:stretch>
        </p:blipFill>
        <p:spPr bwMode="auto">
          <a:xfrm>
            <a:off x="223838" y="247650"/>
            <a:ext cx="2505075" cy="671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4488" y="3400043"/>
            <a:ext cx="6228000" cy="1470025"/>
          </a:xfrm>
        </p:spPr>
        <p:txBody>
          <a:bodyPr rtlCol="0">
            <a:noAutofit/>
          </a:bodyPr>
          <a:lstStyle>
            <a:lvl1pPr>
              <a:defRPr lang="en-GB" sz="4000" dirty="0"/>
            </a:lvl1pPr>
          </a:lstStyle>
          <a:p>
            <a:pPr lvl="0"/>
            <a:r>
              <a:rPr lang="ru-RU" dirty="0" smtClean="0"/>
              <a:t>Образец заголовка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44488" y="4931144"/>
            <a:ext cx="6228000" cy="326553"/>
          </a:xfrm>
          <a:prstGeom prst="rect">
            <a:avLst/>
          </a:prstGeom>
        </p:spPr>
        <p:txBody>
          <a:bodyPr rIns="35997" rtlCol="0">
            <a:noAutofit/>
          </a:bodyPr>
          <a:lstStyle>
            <a:lvl1pPr>
              <a:defRPr lang="en-GB" sz="1800" baseline="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0"/>
          </p:nvPr>
        </p:nvSpPr>
        <p:spPr>
          <a:xfrm>
            <a:off x="344488" y="5864319"/>
            <a:ext cx="6228000" cy="295551"/>
          </a:xfrm>
          <a:prstGeom prst="rect">
            <a:avLst/>
          </a:prstGeom>
        </p:spPr>
        <p:txBody>
          <a:bodyPr rIns="35997" anchor="ctr">
            <a:noAutofit/>
          </a:bodyPr>
          <a:lstStyle>
            <a:lvl1pPr marL="0" indent="0">
              <a:spcBef>
                <a:spcPts val="0"/>
              </a:spcBef>
              <a:buNone/>
              <a:defRPr sz="15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1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3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4"/>
          </p:nvPr>
        </p:nvSpPr>
        <p:spPr>
          <a:xfrm>
            <a:off x="344488" y="5317667"/>
            <a:ext cx="6228000" cy="506895"/>
          </a:xfrm>
          <a:prstGeom prst="rect">
            <a:avLst/>
          </a:prstGeom>
        </p:spPr>
        <p:txBody>
          <a:bodyPr rIns="35997" anchor="b">
            <a:noAutofit/>
          </a:bodyPr>
          <a:lstStyle>
            <a:lvl1pPr marL="0" indent="0">
              <a:spcBef>
                <a:spcPts val="0"/>
              </a:spcBef>
              <a:buNone/>
              <a:defRPr sz="1500" b="0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17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51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8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5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1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3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3" grpId="0" build="p" autoUpdateAnimBg="0"/>
      <p:bldP spid="11" grpId="0" build="p" autoUpdateAnimBg="0"/>
      <p:bldP spid="12" grpId="0" build="p" autoUpdateAnimBg="0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31BCBD-E271-41A3-9539-39D7B704DEFB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9A5D1C-3F4A-4A7E-95C7-BE45C27E7DD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4856BC-8177-4CB0-899F-92F432092192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FC861A-BD82-47BA-9DA3-B4FC033CFEA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281113" y="2017713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567363" y="2017713"/>
            <a:ext cx="413385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13649E7-A6CC-408E-8F1E-A0358E1064DD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F266B5D-0C9C-421C-8317-2068E69630F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73D61B-B62D-407E-BEA0-4A6C5063D797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8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D40728-C4F4-4A58-BE9A-825C15B5E15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37B17B-4816-41F3-9DAA-A5AF3A554668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D61E04-D60E-4158-9049-A8B324B35B9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C2C0B7-FB20-4C37-97B3-D9684ED58B84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3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498B86-80B3-4390-B958-427E44C7BAE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7A2043-CB18-4EC9-A91C-15BFA36C9CCB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5BA479-8117-492B-AF8B-312E029E9D2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889512-0EB1-4830-9A59-015CF6410ADA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6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C7BC35E-1593-45FA-B5F9-26F65BCA68D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04488-6DB5-44AA-8B26-365DE6FCA0A0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3C7969-C0D1-4E87-AA5C-27ECA002FFB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588250" y="214313"/>
            <a:ext cx="2112963" cy="59182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246188" y="214313"/>
            <a:ext cx="6189662" cy="59182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FF85AC-36E5-41AA-B4E9-C0AE05478423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4AAC94-3D9E-4227-9A4C-25CA3684921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1 текст. окн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8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12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344489" y="1141413"/>
            <a:ext cx="9217024" cy="5175250"/>
          </a:xfrm>
          <a:prstGeom prst="rect">
            <a:avLst/>
          </a:prstGeom>
        </p:spPr>
        <p:txBody>
          <a:bodyPr/>
          <a:lstStyle>
            <a:lvl2pPr>
              <a:defRPr lang="en-US" sz="15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7" name="Footer Placeholder 10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8" name="Slide Number Placeholder 1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AC3B99-89B2-48F5-92B0-FFF0749F758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 autoUpdateAnimBg="0"/>
      <p:bldP spid="3" grpId="0" autoUpdateAnimBg="0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1246188" y="214313"/>
            <a:ext cx="8455025" cy="59182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7A425F-D577-4AEF-B18F-31E0FE3A0CA8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4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CAA52D-ADAC-46D2-913A-7042DA61C20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46188" y="214313"/>
            <a:ext cx="8443912" cy="146208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1281113" y="2017713"/>
            <a:ext cx="8420100" cy="4114800"/>
          </a:xfrm>
        </p:spPr>
        <p:txBody>
          <a:bodyPr/>
          <a:lstStyle/>
          <a:p>
            <a:pPr lvl="0"/>
            <a:endParaRPr lang="ru-RU" noProof="0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4ED02B-E751-4AD3-A01D-88DB8B41DEF5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5" name="Rectangle 12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00ED24-1717-4169-95C9-ACB0B26B1D1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1_1 текст. СНОС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8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12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344489" y="1141413"/>
            <a:ext cx="9217024" cy="4445571"/>
          </a:xfrm>
          <a:prstGeom prst="rect">
            <a:avLst/>
          </a:prstGeom>
        </p:spPr>
        <p:txBody>
          <a:bodyPr/>
          <a:lstStyle>
            <a:lvl1pPr marL="0" indent="0" defTabSz="268288">
              <a:buNone/>
              <a:defRPr/>
            </a:lvl1pPr>
            <a:lvl2pPr>
              <a:defRPr lang="en-US" sz="15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44488" y="5866432"/>
            <a:ext cx="9217025" cy="434991"/>
          </a:xfrm>
        </p:spPr>
        <p:txBody>
          <a:bodyPr anchor="b">
            <a:spAutoFit/>
          </a:bodyPr>
          <a:lstStyle>
            <a:lvl1pPr marL="358775" indent="-358775">
              <a:lnSpc>
                <a:spcPct val="90000"/>
              </a:lnSpc>
              <a:spcAft>
                <a:spcPts val="400"/>
              </a:spcAft>
              <a:buFontTx/>
              <a:buNone/>
              <a:tabLst>
                <a:tab pos="324000" algn="r"/>
                <a:tab pos="396000" algn="l"/>
              </a:tabLst>
              <a:defRPr sz="800">
                <a:latin typeface="+mn-lt"/>
              </a:defRPr>
            </a:lvl1pPr>
            <a:lvl2pPr marL="358775" marR="0" indent="-358775" algn="l" defTabSz="957838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accent1"/>
              </a:buClr>
              <a:buSzPct val="100000"/>
              <a:buFontTx/>
              <a:buNone/>
              <a:tabLst>
                <a:tab pos="324000" algn="r"/>
                <a:tab pos="396000" algn="l"/>
              </a:tabLst>
              <a:defRPr sz="800">
                <a:latin typeface="+mn-lt"/>
              </a:defRPr>
            </a:lvl2pPr>
            <a:lvl3pPr marL="358775" indent="-358775">
              <a:lnSpc>
                <a:spcPct val="90000"/>
              </a:lnSpc>
              <a:spcAft>
                <a:spcPts val="400"/>
              </a:spcAft>
              <a:buFontTx/>
              <a:buNone/>
              <a:tabLst>
                <a:tab pos="324000" algn="r"/>
                <a:tab pos="396000" algn="l"/>
              </a:tabLst>
              <a:defRPr sz="800">
                <a:latin typeface="+mn-lt"/>
              </a:defRPr>
            </a:lvl3pPr>
            <a:lvl4pPr marL="360000" indent="0">
              <a:lnSpc>
                <a:spcPct val="90000"/>
              </a:lnSpc>
              <a:spcAft>
                <a:spcPts val="400"/>
              </a:spcAft>
              <a:buFontTx/>
              <a:buNone/>
              <a:tabLst>
                <a:tab pos="324000" algn="r"/>
                <a:tab pos="396000" algn="l"/>
              </a:tabLst>
              <a:defRPr sz="800">
                <a:latin typeface="+mn-lt"/>
              </a:defRPr>
            </a:lvl4pPr>
            <a:lvl5pPr marL="360000" indent="0">
              <a:lnSpc>
                <a:spcPct val="90000"/>
              </a:lnSpc>
              <a:spcAft>
                <a:spcPts val="400"/>
              </a:spcAft>
              <a:buFontTx/>
              <a:buNone/>
              <a:tabLst>
                <a:tab pos="324000" algn="r"/>
                <a:tab pos="396000" algn="l"/>
              </a:tabLst>
              <a:defRPr sz="800">
                <a:latin typeface="+mn-lt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F68B95-0BAB-4453-B8B1-1439D2AFC9C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 autoUpdateAnimBg="0"/>
      <p:bldP spid="3" grpId="0" autoUpdateAnimBg="0"/>
      <p:bldP spid="4" grpId="0" build="p" autoUpdateAnimBg="0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2 текст. окн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15"/>
          <p:cNvCxnSpPr/>
          <p:nvPr userDrawn="1"/>
        </p:nvCxnSpPr>
        <p:spPr>
          <a:xfrm>
            <a:off x="344488" y="1000125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9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4488" y="585362"/>
            <a:ext cx="9217026" cy="41549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2"/>
          </p:nvPr>
        </p:nvSpPr>
        <p:spPr>
          <a:xfrm>
            <a:off x="344489" y="1141413"/>
            <a:ext cx="4524688" cy="5175250"/>
          </a:xfrm>
          <a:prstGeom prst="rect">
            <a:avLst/>
          </a:prstGeom>
        </p:spPr>
        <p:txBody>
          <a:bodyPr/>
          <a:lstStyle>
            <a:lvl2pPr>
              <a:defRPr lang="en-US" sz="15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5036825" y="1141413"/>
            <a:ext cx="4524688" cy="5175250"/>
          </a:xfrm>
          <a:prstGeom prst="rect">
            <a:avLst/>
          </a:prstGeom>
        </p:spPr>
        <p:txBody>
          <a:bodyPr/>
          <a:lstStyle>
            <a:lvl2pPr>
              <a:defRPr lang="en-US" sz="15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defRPr lang="en-US" sz="1200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8" name="Footer Placeholder 10"/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9" name="Slide Number Placeholder 11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381FB2-C52F-4635-A5A0-F2BA5EBFCD0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14" grpId="0" build="p" autoUpdateAnimBg="0"/>
      <p:bldP spid="13" grpId="0" build="p" autoUpdateAnimBg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фото,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6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4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344489" y="1141413"/>
            <a:ext cx="9217024" cy="2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488" y="3860799"/>
            <a:ext cx="9217025" cy="245586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4489" y="3609020"/>
            <a:ext cx="4524688" cy="12311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9B4890-FA5A-4274-99A2-ACEAD52E5AA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5" grpId="0" build="p" autoUpdateAnimBg="0"/>
      <p:bldP spid="8" grpId="0" build="p" autoUpdateAnimBg="0"/>
      <p:bldP spid="14" grpId="0" build="p" autoUpdateAnimBg="0"/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фото, 2 текст. окн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17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15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344488" y="1141413"/>
            <a:ext cx="9217025" cy="2376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489" y="3860801"/>
            <a:ext cx="4524688" cy="245586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5036825" y="3860801"/>
            <a:ext cx="4524688" cy="245586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44489" y="3620214"/>
            <a:ext cx="4519612" cy="123111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AE17CB-9445-4024-B1C3-2033C5C00CB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5" grpId="0" build="p" autoUpdateAnimBg="0"/>
      <p:bldP spid="8" grpId="0" build="p" autoUpdateAnimBg="0"/>
      <p:bldP spid="13" grpId="0" build="p" autoUpdateAnimBg="0"/>
      <p:bldP spid="14" grpId="0" build="p" autoUpdateAnimBg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текст слева,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16"/>
          <p:cNvCxnSpPr/>
          <p:nvPr userDrawn="1"/>
        </p:nvCxnSpPr>
        <p:spPr>
          <a:xfrm>
            <a:off x="344488" y="1001713"/>
            <a:ext cx="9217025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14"/>
          <p:cNvCxnSpPr/>
          <p:nvPr userDrawn="1"/>
        </p:nvCxnSpPr>
        <p:spPr>
          <a:xfrm>
            <a:off x="344488" y="6489700"/>
            <a:ext cx="9217025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/>
          <a:srcRect l="-7050" t="-45038" r="-6541" b="-50856"/>
          <a:stretch>
            <a:fillRect/>
          </a:stretch>
        </p:blipFill>
        <p:spPr bwMode="auto">
          <a:xfrm>
            <a:off x="8523288" y="6489700"/>
            <a:ext cx="1101725" cy="296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2"/>
          </p:nvPr>
        </p:nvSpPr>
        <p:spPr>
          <a:xfrm>
            <a:off x="5036825" y="1147763"/>
            <a:ext cx="4524688" cy="493533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44489" y="1141413"/>
            <a:ext cx="4524688" cy="51752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defRPr sz="1200"/>
            </a:lvl4pPr>
            <a:lvl5pPr marL="1233300" marR="0" indent="-244911" algn="l" defTabSz="9578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51"/>
              </a:spcAft>
              <a:buClrTx/>
              <a:buSzTx/>
              <a:buFont typeface="Arial" pitchFamily="34" charset="0"/>
              <a:buChar char="»"/>
              <a:tabLst/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5036825" y="6191046"/>
            <a:ext cx="4524688" cy="125617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Footer Placeholder 10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11" name="Slide Number Placeholder 1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5DC2CE-580C-4A4E-AD9E-FC6FF745F70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utoUpdateAnimBg="0"/>
      <p:bldP spid="5" grpId="0" build="p" autoUpdateAnimBg="0"/>
      <p:bldP spid="8" grpId="0" build="p" autoUpdateAnimBg="0"/>
      <p:bldP spid="14" grpId="0" build="p" autoUpdateAnimBg="0"/>
    </p:bld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44488" y="668338"/>
            <a:ext cx="9217025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44488" y="6557963"/>
            <a:ext cx="3708400" cy="16986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 defTabSz="957838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ru-RU"/>
              <a:t>Утилизация неликвидов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575175" y="6557963"/>
            <a:ext cx="755650" cy="16986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 defTabSz="957838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</a:defRPr>
            </a:lvl1pPr>
          </a:lstStyle>
          <a:p>
            <a:pPr>
              <a:defRPr/>
            </a:pPr>
            <a:fld id="{42CFC42B-A549-4310-9E01-549FD15000C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029" name="Text Placeholder 7"/>
          <p:cNvSpPr>
            <a:spLocks noGrp="1"/>
          </p:cNvSpPr>
          <p:nvPr>
            <p:ph type="body" idx="1"/>
          </p:nvPr>
        </p:nvSpPr>
        <p:spPr bwMode="auto">
          <a:xfrm>
            <a:off x="344488" y="1141413"/>
            <a:ext cx="9217025" cy="5175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  <p:sldLayoutId id="2147483822" r:id="rId15"/>
    <p:sldLayoutId id="2147483823" r:id="rId16"/>
    <p:sldLayoutId id="2147483824" r:id="rId17"/>
    <p:sldLayoutId id="2147483825" r:id="rId18"/>
    <p:sldLayoutId id="2147483826" r:id="rId19"/>
    <p:sldLayoutId id="2147483827" r:id="rId20"/>
    <p:sldLayoutId id="2147483828" r:id="rId21"/>
    <p:sldLayoutId id="2147483829" r:id="rId22"/>
    <p:sldLayoutId id="2147483830" r:id="rId23"/>
    <p:sldLayoutId id="2147483831" r:id="rId24"/>
    <p:sldLayoutId id="2147483832" r:id="rId25"/>
    <p:sldLayoutId id="2147483833" r:id="rId26"/>
    <p:sldLayoutId id="2147483834" r:id="rId27"/>
    <p:sldLayoutId id="2147483835" r:id="rId28"/>
  </p:sldLayoutIdLst>
  <p:transition advTm="10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102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2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0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2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6" grpId="0"/>
      <p:bldP spid="1029" grpId="0" build="p">
        <p:tmplLst>
          <p:tmpl lvl="1">
            <p:tnLst>
              <p:par>
                <p:cTn presetID="44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9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05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44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9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05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44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9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102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102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05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hf sldNum="0" hdr="0" dt="0"/>
  <p:txStyles>
    <p:titleStyle>
      <a:lvl1pPr algn="l" defTabSz="957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957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2pPr>
      <a:lvl3pPr algn="l" defTabSz="957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3pPr>
      <a:lvl4pPr algn="l" defTabSz="957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4pPr>
      <a:lvl5pPr algn="l" defTabSz="957263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5pPr>
      <a:lvl6pPr marL="457200" algn="l" defTabSz="957263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6pPr>
      <a:lvl7pPr marL="914400" algn="l" defTabSz="957263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7pPr>
      <a:lvl8pPr marL="1371600" algn="l" defTabSz="957263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8pPr>
      <a:lvl9pPr marL="1828800" algn="l" defTabSz="957263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charset="0"/>
        </a:defRPr>
      </a:lvl9pPr>
    </p:titleStyle>
    <p:bodyStyle>
      <a:lvl1pPr marL="341313" indent="-341313" algn="l" defTabSz="912813" rtl="0" eaLnBrk="0" fontAlgn="base" hangingPunct="0">
        <a:spcBef>
          <a:spcPct val="0"/>
        </a:spcBef>
        <a:spcAft>
          <a:spcPts val="550"/>
        </a:spcAft>
        <a:buClr>
          <a:srgbClr val="F68B1F"/>
        </a:buClr>
        <a:buFont typeface="Wingdings" pitchFamily="2" charset="2"/>
        <a:buChar char="o"/>
        <a:defRPr lang="en-US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69913" indent="-244475" algn="l" defTabSz="957263" rtl="0" eaLnBrk="0" fontAlgn="base" hangingPunct="0">
        <a:spcBef>
          <a:spcPct val="0"/>
        </a:spcBef>
        <a:spcAft>
          <a:spcPts val="550"/>
        </a:spcAft>
        <a:buClr>
          <a:schemeClr val="accent1"/>
        </a:buClr>
        <a:buSzPct val="100000"/>
        <a:buFont typeface="Wingdings 2" pitchFamily="18" charset="2"/>
        <a:buChar char=""/>
        <a:defRPr lang="en-US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827088" indent="-255588" algn="l" defTabSz="957263" rtl="0" eaLnBrk="0" fontAlgn="base" hangingPunct="0">
        <a:spcBef>
          <a:spcPct val="0"/>
        </a:spcBef>
        <a:spcAft>
          <a:spcPts val="550"/>
        </a:spcAft>
        <a:buClr>
          <a:schemeClr val="accent1"/>
        </a:buClr>
        <a:buSzPct val="120000"/>
        <a:buFont typeface="Arial Black" pitchFamily="34" charset="0"/>
        <a:buChar char="–"/>
        <a:defRPr lang="en-US" sz="12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987425" indent="-244475" algn="l" defTabSz="957263" rtl="0" eaLnBrk="0" fontAlgn="base" hangingPunct="0">
        <a:spcBef>
          <a:spcPct val="0"/>
        </a:spcBef>
        <a:spcAft>
          <a:spcPts val="550"/>
        </a:spcAft>
        <a:buFont typeface="Arial" charset="0"/>
        <a:buChar char="–"/>
        <a:defRPr sz="1100" kern="1200">
          <a:solidFill>
            <a:schemeClr val="tx1"/>
          </a:solidFill>
          <a:latin typeface="+mn-lt"/>
          <a:ea typeface="+mn-ea"/>
          <a:cs typeface="Arial" charset="0"/>
        </a:defRPr>
      </a:lvl4pPr>
      <a:lvl5pPr marL="1231900" indent="-244475" algn="l" defTabSz="957263" rtl="0" eaLnBrk="0" fontAlgn="base" hangingPunct="0">
        <a:spcBef>
          <a:spcPct val="0"/>
        </a:spcBef>
        <a:spcAft>
          <a:spcPts val="550"/>
        </a:spcAft>
        <a:buFont typeface="Arial" charset="0"/>
        <a:buChar char="»"/>
        <a:defRPr sz="1100" kern="1200">
          <a:solidFill>
            <a:schemeClr val="tx1"/>
          </a:solidFill>
          <a:latin typeface="+mn-lt"/>
          <a:ea typeface="+mn-ea"/>
          <a:cs typeface="Arial" charset="0"/>
        </a:defRPr>
      </a:lvl5pPr>
      <a:lvl6pPr marL="2634055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2975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591894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070813" indent="-239460" algn="l" defTabSz="957838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78919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57838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36757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15677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596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73515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52434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31353" algn="l" defTabSz="957838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7714" name="Rectangle 2"/>
          <p:cNvSpPr>
            <a:spLocks noChangeArrowheads="1"/>
          </p:cNvSpPr>
          <p:nvPr/>
        </p:nvSpPr>
        <p:spPr bwMode="ltGray">
          <a:xfrm>
            <a:off x="452438" y="1098550"/>
            <a:ext cx="474662" cy="47466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ru-RU" sz="2400">
              <a:latin typeface="Tahoma" pitchFamily="34" charset="0"/>
            </a:endParaRPr>
          </a:p>
        </p:txBody>
      </p:sp>
      <p:sp>
        <p:nvSpPr>
          <p:cNvPr id="627715" name="Rectangle 3"/>
          <p:cNvSpPr>
            <a:spLocks noChangeArrowheads="1"/>
          </p:cNvSpPr>
          <p:nvPr/>
        </p:nvSpPr>
        <p:spPr bwMode="ltGray">
          <a:xfrm>
            <a:off x="866775" y="1098550"/>
            <a:ext cx="355600" cy="474663"/>
          </a:xfrm>
          <a:prstGeom prst="rect">
            <a:avLst/>
          </a:pr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ru-RU" sz="2400">
              <a:latin typeface="Tahoma" pitchFamily="34" charset="0"/>
            </a:endParaRPr>
          </a:p>
        </p:txBody>
      </p:sp>
      <p:sp>
        <p:nvSpPr>
          <p:cNvPr id="627716" name="Rectangle 4"/>
          <p:cNvSpPr>
            <a:spLocks noChangeArrowheads="1"/>
          </p:cNvSpPr>
          <p:nvPr/>
        </p:nvSpPr>
        <p:spPr bwMode="ltGray">
          <a:xfrm>
            <a:off x="585788" y="1520825"/>
            <a:ext cx="458787" cy="4746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ru-RU" sz="2400">
              <a:latin typeface="Tahoma" pitchFamily="34" charset="0"/>
            </a:endParaRPr>
          </a:p>
        </p:txBody>
      </p:sp>
      <p:sp>
        <p:nvSpPr>
          <p:cNvPr id="627717" name="Rectangle 5"/>
          <p:cNvSpPr>
            <a:spLocks noChangeArrowheads="1"/>
          </p:cNvSpPr>
          <p:nvPr/>
        </p:nvSpPr>
        <p:spPr bwMode="ltGray">
          <a:xfrm>
            <a:off x="987425" y="1520825"/>
            <a:ext cx="398463" cy="474663"/>
          </a:xfrm>
          <a:prstGeom prst="rect">
            <a:avLst/>
          </a:prstGeom>
          <a:gradFill rotWithShape="0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ru-RU" sz="2400">
              <a:latin typeface="Tahoma" pitchFamily="34" charset="0"/>
            </a:endParaRPr>
          </a:p>
        </p:txBody>
      </p:sp>
      <p:sp>
        <p:nvSpPr>
          <p:cNvPr id="627718" name="Rectangle 6"/>
          <p:cNvSpPr>
            <a:spLocks noChangeArrowheads="1"/>
          </p:cNvSpPr>
          <p:nvPr/>
        </p:nvSpPr>
        <p:spPr bwMode="ltGray">
          <a:xfrm>
            <a:off x="138113" y="1447800"/>
            <a:ext cx="606425" cy="422275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hlink"/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ru-RU" sz="2400">
              <a:latin typeface="Tahoma" pitchFamily="34" charset="0"/>
            </a:endParaRPr>
          </a:p>
        </p:txBody>
      </p:sp>
      <p:sp>
        <p:nvSpPr>
          <p:cNvPr id="627719" name="Rectangle 7"/>
          <p:cNvSpPr>
            <a:spLocks noChangeArrowheads="1"/>
          </p:cNvSpPr>
          <p:nvPr/>
        </p:nvSpPr>
        <p:spPr bwMode="gray">
          <a:xfrm>
            <a:off x="825500" y="990600"/>
            <a:ext cx="34925" cy="105251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ru-RU" sz="2400">
              <a:latin typeface="Tahoma" pitchFamily="34" charset="0"/>
            </a:endParaRPr>
          </a:p>
        </p:txBody>
      </p:sp>
      <p:sp>
        <p:nvSpPr>
          <p:cNvPr id="627720" name="Rectangle 8"/>
          <p:cNvSpPr>
            <a:spLocks noChangeArrowheads="1"/>
          </p:cNvSpPr>
          <p:nvPr/>
        </p:nvSpPr>
        <p:spPr bwMode="gray">
          <a:xfrm>
            <a:off x="479425" y="1781175"/>
            <a:ext cx="8912225" cy="31750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ru-RU" sz="2400">
              <a:latin typeface="Tahoma" pitchFamily="34" charset="0"/>
            </a:endParaRPr>
          </a:p>
        </p:txBody>
      </p:sp>
      <p:sp>
        <p:nvSpPr>
          <p:cNvPr id="769033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246188" y="214313"/>
            <a:ext cx="8443912" cy="1462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769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81113" y="2017713"/>
            <a:ext cx="84201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627723" name="Rectangle 1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1258888" y="6243638"/>
            <a:ext cx="20637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400">
                <a:latin typeface="+mn-lt"/>
              </a:defRPr>
            </a:lvl1pPr>
          </a:lstStyle>
          <a:p>
            <a:pPr>
              <a:defRPr/>
            </a:pPr>
            <a:fld id="{0C87218A-7830-4AD7-AF4A-802851DBBAA9}" type="datetimeFigureOut">
              <a:rPr lang="ru-RU"/>
              <a:pPr>
                <a:defRPr/>
              </a:pPr>
              <a:t>02.02.2022</a:t>
            </a:fld>
            <a:endParaRPr lang="ru-RU"/>
          </a:p>
        </p:txBody>
      </p:sp>
      <p:sp>
        <p:nvSpPr>
          <p:cNvPr id="627724" name="Rectangle 1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962400" y="6243638"/>
            <a:ext cx="31369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4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27725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29525" y="6243638"/>
            <a:ext cx="206375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400">
                <a:latin typeface="+mn-lt"/>
              </a:defRPr>
            </a:lvl1pPr>
          </a:lstStyle>
          <a:p>
            <a:pPr>
              <a:defRPr/>
            </a:pPr>
            <a:fld id="{91C3408E-F128-4DA3-8CE8-6044C9C66FB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07" r:id="rId2"/>
    <p:sldLayoutId id="2147483806" r:id="rId3"/>
    <p:sldLayoutId id="2147483805" r:id="rId4"/>
    <p:sldLayoutId id="2147483804" r:id="rId5"/>
    <p:sldLayoutId id="2147483803" r:id="rId6"/>
    <p:sldLayoutId id="2147483802" r:id="rId7"/>
    <p:sldLayoutId id="2147483801" r:id="rId8"/>
    <p:sldLayoutId id="2147483800" r:id="rId9"/>
    <p:sldLayoutId id="2147483799" r:id="rId10"/>
    <p:sldLayoutId id="2147483798" r:id="rId11"/>
    <p:sldLayoutId id="2147483797" r:id="rId12"/>
    <p:sldLayoutId id="2147483796" r:id="rId13"/>
  </p:sldLayoutIdLst>
  <p:transition advTm="12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90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7690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690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7690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4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90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7690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7690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7690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90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690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7690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7690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90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7690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7690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76903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90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7690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7690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7690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4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90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7690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690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690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69033" grpId="0"/>
      <p:bldP spid="769034" grpId="0" build="p">
        <p:tmplLst>
          <p:tmpl lvl="1">
            <p:tnLst>
              <p:par>
                <p:cTn presetID="44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90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9034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7690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7690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05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44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90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9034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7690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7690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05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3">
            <p:tnLst>
              <p:par>
                <p:cTn presetID="44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90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9034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7690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7690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05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4">
            <p:tnLst>
              <p:par>
                <p:cTn presetID="44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90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9034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7690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7690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05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5">
            <p:tnLst>
              <p:par>
                <p:cTn presetID="44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6903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69034"/>
                        </p:tgtEl>
                      </p:cBhvr>
                    </p:animEffect>
                    <p:anim calcmode="lin" valueType="num">
                      <p:cBhvr>
                        <p:cTn dur="500" fill="hold"/>
                        <p:tgtEl>
                          <p:spTgt spid="769034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500" fill="hold"/>
                        <p:tgtEl>
                          <p:spTgt spid="769034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05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50000"/>
        <a:buFont typeface="Wingdings" pitchFamily="2" charset="2"/>
        <a:buChar char="n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55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3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jpeg"/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2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2689" name="object 3"/>
          <p:cNvSpPr>
            <a:spLocks noChangeArrowheads="1"/>
          </p:cNvSpPr>
          <p:nvPr/>
        </p:nvSpPr>
        <p:spPr bwMode="auto">
          <a:xfrm>
            <a:off x="0" y="0"/>
            <a:ext cx="9906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sp>
        <p:nvSpPr>
          <p:cNvPr id="825350" name="Rectangle 6"/>
          <p:cNvSpPr>
            <a:spLocks noChangeArrowheads="1"/>
          </p:cNvSpPr>
          <p:nvPr/>
        </p:nvSpPr>
        <p:spPr bwMode="auto">
          <a:xfrm>
            <a:off x="173038" y="2097088"/>
            <a:ext cx="9628187" cy="180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ru-RU" sz="2800" b="1">
                <a:effectLst>
                  <a:outerShdw blurRad="38100" dist="38100" dir="2700000" algn="tl">
                    <a:srgbClr val="C0C0C0"/>
                  </a:outerShdw>
                </a:effectLst>
              </a:rPr>
              <a:t>Технологический комплекс приготовления и сжигания водоугольного топлива как инновационный способ использования  отходов углеобогащения</a:t>
            </a:r>
            <a:r>
              <a:rPr lang="ru-RU"/>
              <a:t> </a:t>
            </a:r>
          </a:p>
        </p:txBody>
      </p:sp>
      <p:sp>
        <p:nvSpPr>
          <p:cNvPr id="2162691" name="Rectangle 10"/>
          <p:cNvSpPr>
            <a:spLocks noChangeArrowheads="1"/>
          </p:cNvSpPr>
          <p:nvPr/>
        </p:nvSpPr>
        <p:spPr bwMode="auto">
          <a:xfrm>
            <a:off x="4700588" y="6165850"/>
            <a:ext cx="97155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/>
            <a:r>
              <a:rPr lang="ru-RU" b="1">
                <a:latin typeface="Times New Roman" pitchFamily="18" charset="0"/>
              </a:rPr>
              <a:t>2022 г.</a:t>
            </a:r>
          </a:p>
        </p:txBody>
      </p:sp>
      <p:sp>
        <p:nvSpPr>
          <p:cNvPr id="2" name="Rectangle 5"/>
          <p:cNvSpPr>
            <a:spLocks noChangeArrowheads="1"/>
          </p:cNvSpPr>
          <p:nvPr/>
        </p:nvSpPr>
        <p:spPr bwMode="auto">
          <a:xfrm>
            <a:off x="1784350" y="188913"/>
            <a:ext cx="7137400" cy="701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«КУЗБАССКИЙ ГОСУДАРСТВЕННЫЙ ТЕХНИЧЕСКИЙ УНИВЕРСИТЕТ имени Т.Ф.</a:t>
            </a:r>
            <a:r>
              <a:rPr lang="en-US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</a:t>
            </a: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ГОРБАЧЕВА» (КузГТУ)</a:t>
            </a:r>
          </a:p>
        </p:txBody>
      </p:sp>
      <p:sp>
        <p:nvSpPr>
          <p:cNvPr id="824333" name="Rectangle 13"/>
          <p:cNvSpPr>
            <a:spLocks noChangeArrowheads="1"/>
          </p:cNvSpPr>
          <p:nvPr/>
        </p:nvSpPr>
        <p:spPr bwMode="auto">
          <a:xfrm>
            <a:off x="5597525" y="4992688"/>
            <a:ext cx="3963988" cy="825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Мурко В.И., </a:t>
            </a:r>
          </a:p>
          <a:p>
            <a:pPr>
              <a:lnSpc>
                <a:spcPct val="80000"/>
              </a:lnSpc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руководитель НИЦ по ГД и ГОУ</a:t>
            </a: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,</a:t>
            </a:r>
          </a:p>
          <a:p>
            <a:pPr>
              <a:lnSpc>
                <a:spcPct val="80000"/>
              </a:lnSpc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д.т.н., профессор</a:t>
            </a:r>
          </a:p>
        </p:txBody>
      </p:sp>
      <p:pic>
        <p:nvPicPr>
          <p:cNvPr id="2162694" name="Объект 1"/>
          <p:cNvPicPr>
            <a:picLocks noChangeArrowheads="1"/>
          </p:cNvPicPr>
          <p:nvPr/>
        </p:nvPicPr>
        <p:blipFill>
          <a:blip r:embed="rId3"/>
          <a:srcRect t="-575" r="-279" b="-3421"/>
          <a:stretch>
            <a:fillRect/>
          </a:stretch>
        </p:blipFill>
        <p:spPr bwMode="auto">
          <a:xfrm>
            <a:off x="0" y="0"/>
            <a:ext cx="1784350" cy="981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Tm="12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8243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433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1905" name="object 3"/>
          <p:cNvSpPr>
            <a:spLocks noChangeArrowheads="1"/>
          </p:cNvSpPr>
          <p:nvPr/>
        </p:nvSpPr>
        <p:spPr bwMode="auto">
          <a:xfrm>
            <a:off x="28575" y="4763"/>
            <a:ext cx="9898063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sp>
        <p:nvSpPr>
          <p:cNvPr id="2171906" name="Rectangle 64"/>
          <p:cNvSpPr>
            <a:spLocks noChangeArrowheads="1"/>
          </p:cNvSpPr>
          <p:nvPr/>
        </p:nvSpPr>
        <p:spPr bwMode="auto">
          <a:xfrm>
            <a:off x="542925" y="-34925"/>
            <a:ext cx="2286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ru-RU" sz="1400">
                <a:latin typeface="Times New Roman" pitchFamily="18" charset="0"/>
                <a:cs typeface="Times New Roman" pitchFamily="18" charset="0"/>
              </a:rPr>
              <a:t> </a:t>
            </a:r>
            <a:endParaRPr lang="ru-RU"/>
          </a:p>
        </p:txBody>
      </p:sp>
      <p:graphicFrame>
        <p:nvGraphicFramePr>
          <p:cNvPr id="1894561" name="Group 1185"/>
          <p:cNvGraphicFramePr>
            <a:graphicFrameLocks noGrp="1"/>
          </p:cNvGraphicFramePr>
          <p:nvPr>
            <p:ph/>
          </p:nvPr>
        </p:nvGraphicFramePr>
        <p:xfrm>
          <a:off x="252413" y="1439863"/>
          <a:ext cx="9469437" cy="4594225"/>
        </p:xfrm>
        <a:graphic>
          <a:graphicData uri="http://schemas.openxmlformats.org/drawingml/2006/table">
            <a:tbl>
              <a:tblPr/>
              <a:tblGrid>
                <a:gridCol w="441325"/>
                <a:gridCol w="1355725"/>
                <a:gridCol w="1203325"/>
                <a:gridCol w="187325"/>
                <a:gridCol w="692150"/>
                <a:gridCol w="187325"/>
                <a:gridCol w="187325"/>
                <a:gridCol w="757237"/>
                <a:gridCol w="187325"/>
                <a:gridCol w="1176338"/>
                <a:gridCol w="1100137"/>
                <a:gridCol w="936625"/>
                <a:gridCol w="1057275"/>
              </a:tblGrid>
              <a:tr h="723900"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№</a:t>
                      </a:r>
                    </a:p>
                    <a:p>
                      <a:pPr marL="0" marR="0" lvl="0" indent="0" algn="ctr" defTabSz="9572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п/п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Производи-тельность ус-тановки по </a:t>
                      </a:r>
                    </a:p>
                    <a:p>
                      <a:pPr marL="0" marR="0" lvl="0" indent="0" algn="ctr" defTabSz="9572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суспензии, </a:t>
                      </a:r>
                    </a:p>
                    <a:p>
                      <a:pPr marL="0" marR="0" lvl="0" indent="0" algn="ctr" defTabSz="9572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т/ч  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Зольность, А</a:t>
                      </a:r>
                      <a:r>
                        <a:rPr kumimoji="0" lang="en-US" sz="14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d</a:t>
                      </a:r>
                      <a:r>
                        <a:rPr kumimoji="0" lang="en-US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Количест-во добавки  от твердой фазы,  %  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Выход класса более</a:t>
                      </a:r>
                    </a:p>
                    <a:p>
                      <a:pPr marL="0" marR="0" lvl="0" indent="0" algn="ctr" defTabSz="9572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0,25мм,  </a:t>
                      </a:r>
                    </a:p>
                    <a:p>
                      <a:pPr marL="0" marR="0" lvl="0" indent="0" algn="ctr" defTabSz="9572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%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Массовая доля твердой фазы, С</a:t>
                      </a:r>
                      <a:r>
                        <a:rPr kumimoji="0" lang="ru-RU" sz="1400" b="1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т</a:t>
                      </a: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 %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Эффектив-ная вязкость при скорости сдвига </a:t>
                      </a:r>
                    </a:p>
                    <a:p>
                      <a:pPr marL="0" marR="0" lvl="0" indent="0" algn="ctr" defTabSz="9572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81 с</a:t>
                      </a:r>
                      <a:r>
                        <a:rPr kumimoji="0" lang="ru-RU" sz="1400" b="1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-1</a:t>
                      </a: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,мПа·с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Стабиль-ность, </a:t>
                      </a:r>
                    </a:p>
                    <a:p>
                      <a:pPr marL="0" marR="0" lvl="0" indent="0" algn="ctr" defTabSz="9572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сутки</a:t>
                      </a:r>
                      <a:endParaRPr kumimoji="0" 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Низшая теплота сгорания,</a:t>
                      </a:r>
                    </a:p>
                    <a:p>
                      <a:pPr marL="0" marR="0" lvl="0" indent="0" algn="l" defTabSz="957263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МДж/кг (ккал/кг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3863">
                <a:tc gridSpan="13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фильтр-кек ОФ  ш. «им. С.М.Кирова» 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81013"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0,217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32,9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0,30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2,2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58,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48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1,49</a:t>
                      </a:r>
                    </a:p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(2745)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3863">
                <a:tc gridSpan="13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фильтр-кек  ОФ ш.  «Комсомолец»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39738"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</a:rPr>
                        <a:t>2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0,15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26,0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0,3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2,1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57,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78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2,53</a:t>
                      </a:r>
                    </a:p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(2990)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3863">
                <a:tc gridSpan="13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60% фильтр-кек  ОФ ш. «Комсомолец» + 40% фильтр-кек  ОФ ш. «имени С.М.Кирова»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04813"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</a:rPr>
                        <a:t>3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0,15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35,3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0,3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,4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57,2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19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5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10,74</a:t>
                      </a:r>
                    </a:p>
                    <a:p>
                      <a:pPr marL="0" marR="0" lvl="0" indent="0" algn="ctr" defTabSz="957263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C0C0C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(2566)</a:t>
                      </a:r>
                      <a:endParaRPr kumimoji="0" 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C0C0C0"/>
                          </a:outerShdw>
                        </a:effectLst>
                        <a:latin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17463" y="4763"/>
            <a:ext cx="9909175" cy="1196975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endParaRPr lang="ru-RU" sz="2000" b="1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  <p:sp>
        <p:nvSpPr>
          <p:cNvPr id="4" name="TextBox 23"/>
          <p:cNvSpPr txBox="1">
            <a:spLocks noChangeArrowheads="1"/>
          </p:cNvSpPr>
          <p:nvPr/>
        </p:nvSpPr>
        <p:spPr bwMode="auto">
          <a:xfrm>
            <a:off x="252413" y="144463"/>
            <a:ext cx="9469437" cy="1160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83969" bIns="0"/>
          <a:lstStyle/>
          <a:p>
            <a:pPr marL="160338" indent="-160338" algn="ctr">
              <a:lnSpc>
                <a:spcPct val="70000"/>
              </a:lnSpc>
              <a:spcAft>
                <a:spcPts val="300"/>
              </a:spcAft>
              <a:buFont typeface="Arial" charset="0"/>
              <a:buNone/>
              <a:defRPr/>
            </a:pPr>
            <a:r>
              <a:rPr lang="ru-RU" sz="28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Характеристики опытных партий ВУТ, приготовленных из фильтр-кека ОФ АО «СУЭК»  на экспериментальном стенде </a:t>
            </a:r>
            <a:endParaRPr lang="en-US" sz="2800" b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</p:spTree>
  </p:cSld>
  <p:clrMapOvr>
    <a:masterClrMapping/>
  </p:clrMapOvr>
  <p:transition advTm="12000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2929" name="object 3"/>
          <p:cNvSpPr>
            <a:spLocks noChangeArrowheads="1"/>
          </p:cNvSpPr>
          <p:nvPr/>
        </p:nvSpPr>
        <p:spPr bwMode="auto">
          <a:xfrm>
            <a:off x="0" y="0"/>
            <a:ext cx="9898063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-3175" y="-36513"/>
            <a:ext cx="9909175" cy="1341438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endParaRPr lang="ru-RU" sz="2000" b="1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  <p:sp>
        <p:nvSpPr>
          <p:cNvPr id="518145" name="Rectangle 8"/>
          <p:cNvSpPr>
            <a:spLocks noChangeArrowheads="1"/>
          </p:cNvSpPr>
          <p:nvPr/>
        </p:nvSpPr>
        <p:spPr bwMode="ltGray">
          <a:xfrm>
            <a:off x="1892300" y="3427413"/>
            <a:ext cx="1692275" cy="976312"/>
          </a:xfrm>
          <a:prstGeom prst="rect">
            <a:avLst/>
          </a:prstGeom>
          <a:gradFill rotWithShape="1">
            <a:gsLst>
              <a:gs pos="0">
                <a:srgbClr val="996633"/>
              </a:gs>
              <a:gs pos="50000">
                <a:srgbClr val="FFCC00"/>
              </a:gs>
              <a:gs pos="100000">
                <a:srgbClr val="996633"/>
              </a:gs>
            </a:gsLst>
            <a:lin ang="0" scaled="1"/>
          </a:gradFill>
          <a:ln w="9525">
            <a:miter lim="800000"/>
            <a:headEnd/>
            <a:tailEnd/>
          </a:ln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996633"/>
            </a:extrusionClr>
          </a:sp3d>
        </p:spPr>
        <p:txBody>
          <a:bodyPr wrap="none" lIns="0" tIns="0" rIns="0" bIns="0" anchor="ctr">
            <a:flatTx/>
          </a:bodyPr>
          <a:lstStyle/>
          <a:p>
            <a:pPr algn="ctr">
              <a:defRPr/>
            </a:pPr>
            <a:r>
              <a:rPr lang="ru-RU" sz="12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Комплекс </a:t>
            </a:r>
          </a:p>
          <a:p>
            <a:pPr algn="ctr">
              <a:defRPr/>
            </a:pPr>
            <a:r>
              <a:rPr lang="ru-RU" sz="12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по приготовлению ВУТ</a:t>
            </a:r>
          </a:p>
          <a:p>
            <a:pPr algn="ctr">
              <a:defRPr/>
            </a:pPr>
            <a:endParaRPr lang="ru-RU" sz="1200" b="1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</a:endParaRPr>
          </a:p>
          <a:p>
            <a:pPr algn="ctr">
              <a:defRPr/>
            </a:pPr>
            <a:endParaRPr lang="ru-RU" sz="1200" b="1">
              <a:solidFill>
                <a:srgbClr val="FFFFFF"/>
              </a:solidFill>
              <a:effectLst>
                <a:outerShdw blurRad="38100" dist="38100" dir="2700000" algn="tl">
                  <a:srgbClr val="000000"/>
                </a:outerShdw>
              </a:effectLst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ltGray">
          <a:xfrm>
            <a:off x="285750" y="2751138"/>
            <a:ext cx="1039813" cy="815975"/>
          </a:xfrm>
          <a:prstGeom prst="rect">
            <a:avLst/>
          </a:prstGeom>
          <a:gradFill rotWithShape="1">
            <a:gsLst>
              <a:gs pos="0">
                <a:srgbClr val="777777"/>
              </a:gs>
              <a:gs pos="50000">
                <a:srgbClr val="EAEAEA"/>
              </a:gs>
              <a:gs pos="100000">
                <a:srgbClr val="777777"/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1200" b="1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</a:rPr>
              <a:t>ОФ </a:t>
            </a:r>
          </a:p>
          <a:p>
            <a:pPr algn="ctr">
              <a:defRPr/>
            </a:pPr>
            <a:r>
              <a:rPr lang="ru-RU" sz="1200" b="1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</a:rPr>
              <a:t>«им. </a:t>
            </a:r>
          </a:p>
          <a:p>
            <a:pPr algn="ctr">
              <a:defRPr/>
            </a:pPr>
            <a:r>
              <a:rPr lang="ru-RU" sz="1200" b="1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</a:rPr>
              <a:t>С.М. Кирова» </a:t>
            </a:r>
          </a:p>
          <a:p>
            <a:pPr algn="ctr">
              <a:defRPr/>
            </a:pPr>
            <a:endParaRPr lang="en-US" sz="1200" b="1">
              <a:solidFill>
                <a:srgbClr val="000000"/>
              </a:solidFill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5" name="Rectangle 7"/>
          <p:cNvSpPr>
            <a:spLocks noChangeArrowheads="1"/>
          </p:cNvSpPr>
          <p:nvPr/>
        </p:nvSpPr>
        <p:spPr bwMode="ltGray">
          <a:xfrm>
            <a:off x="285750" y="4108450"/>
            <a:ext cx="1109663" cy="822325"/>
          </a:xfrm>
          <a:prstGeom prst="rect">
            <a:avLst/>
          </a:prstGeom>
          <a:gradFill rotWithShape="1">
            <a:gsLst>
              <a:gs pos="0">
                <a:srgbClr val="777777"/>
              </a:gs>
              <a:gs pos="50000">
                <a:srgbClr val="DDDDDD"/>
              </a:gs>
              <a:gs pos="100000">
                <a:srgbClr val="777777"/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1200" b="1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</a:rPr>
              <a:t>ОФ </a:t>
            </a:r>
          </a:p>
          <a:p>
            <a:pPr algn="ctr">
              <a:defRPr/>
            </a:pPr>
            <a:r>
              <a:rPr lang="ru-RU" sz="1200" b="1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</a:rPr>
              <a:t>«Комсомолец»</a:t>
            </a:r>
          </a:p>
        </p:txBody>
      </p:sp>
      <p:cxnSp>
        <p:nvCxnSpPr>
          <p:cNvPr id="2172934" name="Straight Connector 15"/>
          <p:cNvCxnSpPr>
            <a:cxnSpLocks noChangeShapeType="1"/>
          </p:cNvCxnSpPr>
          <p:nvPr/>
        </p:nvCxnSpPr>
        <p:spPr bwMode="auto">
          <a:xfrm>
            <a:off x="1325563" y="3260725"/>
            <a:ext cx="566737" cy="528638"/>
          </a:xfrm>
          <a:prstGeom prst="line">
            <a:avLst/>
          </a:prstGeom>
          <a:noFill/>
          <a:ln w="38100">
            <a:solidFill>
              <a:schemeClr val="accent2"/>
            </a:solidFill>
            <a:prstDash val="sysDot"/>
            <a:miter lim="800000"/>
            <a:headEnd/>
            <a:tailEnd type="triangle" w="med" len="med"/>
          </a:ln>
        </p:spPr>
      </p:cxnSp>
      <p:cxnSp>
        <p:nvCxnSpPr>
          <p:cNvPr id="2172935" name="Straight Connector 15"/>
          <p:cNvCxnSpPr>
            <a:cxnSpLocks noChangeShapeType="1"/>
          </p:cNvCxnSpPr>
          <p:nvPr/>
        </p:nvCxnSpPr>
        <p:spPr bwMode="auto">
          <a:xfrm flipV="1">
            <a:off x="1395413" y="3789363"/>
            <a:ext cx="496887" cy="663575"/>
          </a:xfrm>
          <a:prstGeom prst="line">
            <a:avLst/>
          </a:prstGeom>
          <a:noFill/>
          <a:ln w="38100">
            <a:solidFill>
              <a:schemeClr val="accent2"/>
            </a:solidFill>
            <a:prstDash val="sysDot"/>
            <a:miter lim="800000"/>
            <a:headEnd/>
            <a:tailEnd type="triangle" w="med" len="med"/>
          </a:ln>
        </p:spPr>
      </p:cxnSp>
      <p:sp>
        <p:nvSpPr>
          <p:cNvPr id="2172936" name="Rectangle 26"/>
          <p:cNvSpPr>
            <a:spLocks noChangeArrowheads="1"/>
          </p:cNvSpPr>
          <p:nvPr/>
        </p:nvSpPr>
        <p:spPr bwMode="auto">
          <a:xfrm>
            <a:off x="146050" y="2489200"/>
            <a:ext cx="4194175" cy="4000500"/>
          </a:xfrm>
          <a:prstGeom prst="rect">
            <a:avLst/>
          </a:prstGeom>
          <a:noFill/>
          <a:ln w="57150">
            <a:solidFill>
              <a:schemeClr val="tx1"/>
            </a:solidFill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pPr algn="ctr" defTabSz="914400"/>
            <a:endParaRPr lang="ru-RU">
              <a:solidFill>
                <a:srgbClr val="336600"/>
              </a:solidFill>
            </a:endParaRPr>
          </a:p>
        </p:txBody>
      </p:sp>
      <p:sp>
        <p:nvSpPr>
          <p:cNvPr id="323615" name="TextBox 23"/>
          <p:cNvSpPr txBox="1">
            <a:spLocks noChangeArrowheads="1"/>
          </p:cNvSpPr>
          <p:nvPr/>
        </p:nvSpPr>
        <p:spPr bwMode="auto">
          <a:xfrm>
            <a:off x="1243013" y="1882775"/>
            <a:ext cx="360045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83969" bIns="0"/>
          <a:lstStyle/>
          <a:p>
            <a:pPr marL="160338" indent="-160338" algn="ctr">
              <a:lnSpc>
                <a:spcPct val="70000"/>
              </a:lnSpc>
              <a:spcAft>
                <a:spcPts val="300"/>
              </a:spcAft>
              <a:buFont typeface="Arial" charset="0"/>
              <a:buNone/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Комплекс приготовления ВУТ, </a:t>
            </a:r>
          </a:p>
          <a:p>
            <a:pPr marL="160338" indent="-160338" algn="ctr">
              <a:lnSpc>
                <a:spcPct val="70000"/>
              </a:lnSpc>
              <a:spcAft>
                <a:spcPts val="300"/>
              </a:spcAft>
              <a:buFont typeface="Arial" charset="0"/>
              <a:buNone/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г. Ленинск-Кузнецкий </a:t>
            </a:r>
            <a:endParaRPr lang="en-US" sz="2000" b="1" i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323599" name="TextBox 23"/>
          <p:cNvSpPr txBox="1">
            <a:spLocks noChangeArrowheads="1"/>
          </p:cNvSpPr>
          <p:nvPr/>
        </p:nvSpPr>
        <p:spPr bwMode="auto">
          <a:xfrm>
            <a:off x="4411663" y="2997200"/>
            <a:ext cx="2171700" cy="858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83969" bIns="0"/>
          <a:lstStyle/>
          <a:p>
            <a:pPr marL="160338" indent="-160338" algn="ctr">
              <a:spcAft>
                <a:spcPts val="275"/>
              </a:spcAft>
              <a:buFont typeface="Arial" charset="0"/>
              <a:buNone/>
              <a:defRPr/>
            </a:pPr>
            <a:r>
              <a:rPr lang="ru-RU" sz="16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Гидротранспорт ВУТ</a:t>
            </a:r>
          </a:p>
          <a:p>
            <a:pPr marL="160338" indent="-160338" algn="ctr">
              <a:spcAft>
                <a:spcPts val="275"/>
              </a:spcAft>
              <a:buFont typeface="Arial" charset="0"/>
              <a:buNone/>
              <a:defRPr/>
            </a:pPr>
            <a:endParaRPr lang="ru-RU" sz="1600" b="1" i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marL="160338" indent="-160338" algn="ctr">
              <a:spcAft>
                <a:spcPts val="275"/>
              </a:spcAft>
              <a:buFont typeface="Arial" charset="0"/>
              <a:buNone/>
              <a:defRPr/>
            </a:pPr>
            <a:endParaRPr lang="ru-RU" sz="1600" b="1" i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marL="160338" indent="-160338" algn="ctr">
              <a:lnSpc>
                <a:spcPct val="70000"/>
              </a:lnSpc>
              <a:spcAft>
                <a:spcPts val="300"/>
              </a:spcAft>
              <a:buFont typeface="Arial" charset="0"/>
              <a:buNone/>
              <a:defRPr/>
            </a:pPr>
            <a:endParaRPr lang="ru-RU" sz="1600" b="1" i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marL="160338" indent="-160338" algn="ctr">
              <a:lnSpc>
                <a:spcPct val="70000"/>
              </a:lnSpc>
              <a:spcAft>
                <a:spcPts val="300"/>
              </a:spcAft>
              <a:buFont typeface="Arial" charset="0"/>
              <a:buNone/>
              <a:defRPr/>
            </a:pPr>
            <a:endParaRPr lang="ru-RU" sz="1600" b="1" i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marL="160338" indent="-160338" algn="ctr">
              <a:lnSpc>
                <a:spcPct val="70000"/>
              </a:lnSpc>
              <a:spcAft>
                <a:spcPts val="300"/>
              </a:spcAft>
              <a:buFont typeface="Arial" charset="0"/>
              <a:buNone/>
              <a:defRPr/>
            </a:pPr>
            <a:r>
              <a:rPr lang="ru-RU" sz="16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и теплотрасса</a:t>
            </a:r>
            <a:endParaRPr lang="en-US" sz="1600" b="1" i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2" name="TextBox 23"/>
          <p:cNvSpPr txBox="1">
            <a:spLocks noChangeArrowheads="1"/>
          </p:cNvSpPr>
          <p:nvPr/>
        </p:nvSpPr>
        <p:spPr bwMode="auto">
          <a:xfrm>
            <a:off x="6546850" y="1508125"/>
            <a:ext cx="3359150" cy="841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83969" bIns="0"/>
          <a:lstStyle/>
          <a:p>
            <a:pPr marL="160338" indent="-160338" algn="ctr">
              <a:lnSpc>
                <a:spcPct val="70000"/>
              </a:lnSpc>
              <a:spcAft>
                <a:spcPts val="300"/>
              </a:spcAft>
              <a:buFont typeface="Arial" charset="0"/>
              <a:buNone/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Участок приема, подачи</a:t>
            </a:r>
          </a:p>
          <a:p>
            <a:pPr marL="160338" indent="-160338" algn="ctr">
              <a:lnSpc>
                <a:spcPct val="70000"/>
              </a:lnSpc>
              <a:spcAft>
                <a:spcPts val="300"/>
              </a:spcAft>
              <a:buFont typeface="Arial" charset="0"/>
              <a:buNone/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и сжигания ВУТ, Беловская ГРЭС, г. Белово</a:t>
            </a:r>
            <a:endParaRPr lang="en-US" sz="2000" b="1" i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518159" name="Rectangle 5"/>
          <p:cNvSpPr>
            <a:spLocks noChangeArrowheads="1"/>
          </p:cNvSpPr>
          <p:nvPr/>
        </p:nvSpPr>
        <p:spPr bwMode="ltGray">
          <a:xfrm>
            <a:off x="8426450" y="3260725"/>
            <a:ext cx="1135063" cy="1309688"/>
          </a:xfrm>
          <a:prstGeom prst="rect">
            <a:avLst/>
          </a:prstGeom>
          <a:gradFill rotWithShape="1">
            <a:gsLst>
              <a:gs pos="0">
                <a:srgbClr val="FF3300"/>
              </a:gs>
              <a:gs pos="50000">
                <a:srgbClr val="CC3300"/>
              </a:gs>
              <a:gs pos="100000">
                <a:srgbClr val="FF3300"/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  <a:effectLst/>
          <a:scene3d>
            <a:camera prst="legacyPerspectiv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FF3300"/>
            </a:extrusionClr>
          </a:sp3d>
        </p:spPr>
        <p:txBody>
          <a:bodyPr wrap="none" lIns="0" tIns="0" rIns="0" bIns="0" anchor="ctr">
            <a:flatTx/>
          </a:bodyPr>
          <a:lstStyle/>
          <a:p>
            <a:pPr algn="ctr">
              <a:defRPr/>
            </a:pPr>
            <a:r>
              <a:rPr lang="ru-RU" sz="12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Котлы </a:t>
            </a:r>
          </a:p>
          <a:p>
            <a:pPr algn="ctr">
              <a:defRPr/>
            </a:pPr>
            <a:r>
              <a:rPr lang="ru-RU" sz="12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Беловской</a:t>
            </a:r>
          </a:p>
          <a:p>
            <a:pPr algn="ctr">
              <a:defRPr/>
            </a:pPr>
            <a:r>
              <a:rPr lang="ru-RU" sz="1200" b="1">
                <a:solidFill>
                  <a:srgbClr val="FFFFFF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</a:rPr>
              <a:t>ГРЭС</a:t>
            </a:r>
          </a:p>
          <a:p>
            <a:pPr algn="ctr">
              <a:defRPr/>
            </a:pPr>
            <a:endParaRPr lang="ru-RU" sz="1200" b="1">
              <a:solidFill>
                <a:srgbClr val="FFFFFF"/>
              </a:solidFill>
              <a:latin typeface="Times New Roman" pitchFamily="18" charset="0"/>
            </a:endParaRPr>
          </a:p>
        </p:txBody>
      </p:sp>
      <p:sp>
        <p:nvSpPr>
          <p:cNvPr id="452627" name="AutoShape 19"/>
          <p:cNvSpPr>
            <a:spLocks noChangeArrowheads="1"/>
          </p:cNvSpPr>
          <p:nvPr/>
        </p:nvSpPr>
        <p:spPr bwMode="auto">
          <a:xfrm>
            <a:off x="6788150" y="2997200"/>
            <a:ext cx="685800" cy="1085850"/>
          </a:xfrm>
          <a:prstGeom prst="can">
            <a:avLst>
              <a:gd name="adj" fmla="val 32918"/>
            </a:avLst>
          </a:prstGeom>
          <a:gradFill rotWithShape="1">
            <a:gsLst>
              <a:gs pos="0">
                <a:schemeClr val="tx2"/>
              </a:gs>
              <a:gs pos="50000">
                <a:schemeClr val="bg1"/>
              </a:gs>
              <a:gs pos="100000">
                <a:schemeClr val="tx2"/>
              </a:gs>
            </a:gsLst>
            <a:lin ang="0" scaled="1"/>
          </a:gradFill>
          <a:ln w="9525">
            <a:solidFill>
              <a:schemeClr val="tx1"/>
            </a:solidFill>
            <a:round/>
            <a:headEnd/>
            <a:tailEnd/>
          </a:ln>
          <a:effectLst>
            <a:outerShdw dist="107763" dir="18900000" algn="ctr" rotWithShape="0">
              <a:srgbClr val="DDDDDD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452628" name="AutoShape 20"/>
          <p:cNvSpPr>
            <a:spLocks noChangeArrowheads="1"/>
          </p:cNvSpPr>
          <p:nvPr/>
        </p:nvSpPr>
        <p:spPr bwMode="auto">
          <a:xfrm>
            <a:off x="6932613" y="3427413"/>
            <a:ext cx="684212" cy="996950"/>
          </a:xfrm>
          <a:prstGeom prst="can">
            <a:avLst>
              <a:gd name="adj" fmla="val 32918"/>
            </a:avLst>
          </a:prstGeom>
          <a:gradFill rotWithShape="1">
            <a:gsLst>
              <a:gs pos="0">
                <a:schemeClr val="tx2"/>
              </a:gs>
              <a:gs pos="50000">
                <a:schemeClr val="bg1"/>
              </a:gs>
              <a:gs pos="100000">
                <a:schemeClr val="tx2"/>
              </a:gs>
            </a:gsLst>
            <a:lin ang="0" scaled="1"/>
          </a:gradFill>
          <a:ln w="9525">
            <a:solidFill>
              <a:schemeClr val="tx1"/>
            </a:solidFill>
            <a:round/>
            <a:headEnd/>
            <a:tailEnd/>
          </a:ln>
          <a:effectLst>
            <a:outerShdw dist="107763" dir="18900000" algn="ctr" rotWithShape="0">
              <a:srgbClr val="DDDDDD"/>
            </a:outerShdw>
          </a:effectLst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2172943" name="Rectangle 8" descr="Циновка"/>
          <p:cNvSpPr>
            <a:spLocks noChangeArrowheads="1"/>
          </p:cNvSpPr>
          <p:nvPr/>
        </p:nvSpPr>
        <p:spPr bwMode="ltGray">
          <a:xfrm>
            <a:off x="7616825" y="3935413"/>
            <a:ext cx="611188" cy="401637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tl"/>
          </a:blipFill>
          <a:ln w="9525">
            <a:miter lim="800000"/>
            <a:headEnd/>
            <a:tailEnd/>
          </a:ln>
          <a:scene3d>
            <a:camera prst="legacyPerspectiveTopRight"/>
            <a:lightRig rig="legacyFlat3" dir="b"/>
          </a:scene3d>
          <a:sp3d extrusionH="887400" prstMaterial="legacyMatte">
            <a:bevelT w="13500" h="13500" prst="angle"/>
            <a:bevelB w="13500" h="13500" prst="angle"/>
            <a:extrusionClr>
              <a:srgbClr val="CC9900"/>
            </a:extrusionClr>
          </a:sp3d>
        </p:spPr>
        <p:txBody>
          <a:bodyPr wrap="none" lIns="0" tIns="0" rIns="0" bIns="0" anchor="ctr">
            <a:flatTx/>
          </a:bodyPr>
          <a:lstStyle/>
          <a:p>
            <a:pPr algn="ctr"/>
            <a:endParaRPr lang="ru-RU" sz="1200" b="1">
              <a:solidFill>
                <a:srgbClr val="FFFFFF"/>
              </a:solidFill>
            </a:endParaRPr>
          </a:p>
        </p:txBody>
      </p:sp>
      <p:sp>
        <p:nvSpPr>
          <p:cNvPr id="2172944" name="Rectangle 27"/>
          <p:cNvSpPr>
            <a:spLocks noChangeArrowheads="1"/>
          </p:cNvSpPr>
          <p:nvPr/>
        </p:nvSpPr>
        <p:spPr bwMode="auto">
          <a:xfrm>
            <a:off x="6550025" y="2489200"/>
            <a:ext cx="3259138" cy="2441575"/>
          </a:xfrm>
          <a:prstGeom prst="rect">
            <a:avLst/>
          </a:prstGeom>
          <a:noFill/>
          <a:ln w="57150">
            <a:solidFill>
              <a:srgbClr val="CC3300"/>
            </a:solidFill>
            <a:prstDash val="sysDot"/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172945" name="AutoShape 29"/>
          <p:cNvSpPr>
            <a:spLocks noChangeArrowheads="1"/>
          </p:cNvSpPr>
          <p:nvPr/>
        </p:nvSpPr>
        <p:spPr bwMode="auto">
          <a:xfrm>
            <a:off x="8120063" y="4022725"/>
            <a:ext cx="612775" cy="234950"/>
          </a:xfrm>
          <a:prstGeom prst="rightArrow">
            <a:avLst>
              <a:gd name="adj1" fmla="val 50000"/>
              <a:gd name="adj2" fmla="val 65203"/>
            </a:avLst>
          </a:prstGeom>
          <a:solidFill>
            <a:schemeClr val="bg2"/>
          </a:solidFill>
          <a:ln w="9525">
            <a:solidFill>
              <a:srgbClr val="6633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172946" name="Rectangle 8" descr="Полотно"/>
          <p:cNvSpPr>
            <a:spLocks noChangeArrowheads="1"/>
          </p:cNvSpPr>
          <p:nvPr/>
        </p:nvSpPr>
        <p:spPr bwMode="ltGray">
          <a:xfrm>
            <a:off x="3584575" y="4002088"/>
            <a:ext cx="611188" cy="401637"/>
          </a:xfrm>
          <a:prstGeom prst="rect">
            <a:avLst/>
          </a:prstGeom>
          <a:blipFill dpi="0" rotWithShape="1">
            <a:blip r:embed="rId4"/>
            <a:srcRect/>
            <a:tile tx="0" ty="0" sx="100000" sy="100000" flip="none" algn="tl"/>
          </a:blipFill>
          <a:ln w="9525">
            <a:miter lim="800000"/>
            <a:headEnd/>
            <a:tailEnd/>
          </a:ln>
          <a:scene3d>
            <a:camera prst="legacyObliqueTopRight"/>
            <a:lightRig rig="legacyFlat3" dir="t"/>
          </a:scene3d>
          <a:sp3d extrusionH="430200" prstMaterial="legacyMatte">
            <a:bevelT w="13500" h="13500" prst="angle"/>
            <a:bevelB w="13500" h="13500" prst="angle"/>
            <a:extrusionClr>
              <a:srgbClr val="CC9900"/>
            </a:extrusionClr>
          </a:sp3d>
        </p:spPr>
        <p:txBody>
          <a:bodyPr wrap="none" lIns="0" tIns="0" rIns="0" bIns="0" anchor="ctr">
            <a:flatTx/>
          </a:bodyPr>
          <a:lstStyle/>
          <a:p>
            <a:pPr algn="ctr"/>
            <a:endParaRPr lang="ru-RU" sz="1200" b="1">
              <a:solidFill>
                <a:srgbClr val="FFFFFF"/>
              </a:solidFill>
            </a:endParaRPr>
          </a:p>
        </p:txBody>
      </p:sp>
      <p:sp>
        <p:nvSpPr>
          <p:cNvPr id="2172947" name="AutoShape 24"/>
          <p:cNvSpPr>
            <a:spLocks noChangeArrowheads="1"/>
          </p:cNvSpPr>
          <p:nvPr/>
        </p:nvSpPr>
        <p:spPr bwMode="auto">
          <a:xfrm>
            <a:off x="4411663" y="3648075"/>
            <a:ext cx="2376487" cy="354013"/>
          </a:xfrm>
          <a:prstGeom prst="rightArrow">
            <a:avLst>
              <a:gd name="adj1" fmla="val 50000"/>
              <a:gd name="adj2" fmla="val 167825"/>
            </a:avLst>
          </a:prstGeom>
          <a:solidFill>
            <a:srgbClr val="FF99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172948" name="AutoShape 25"/>
          <p:cNvSpPr>
            <a:spLocks noChangeArrowheads="1"/>
          </p:cNvSpPr>
          <p:nvPr/>
        </p:nvSpPr>
        <p:spPr bwMode="auto">
          <a:xfrm>
            <a:off x="4340225" y="3929063"/>
            <a:ext cx="2376488" cy="306387"/>
          </a:xfrm>
          <a:prstGeom prst="leftArrow">
            <a:avLst>
              <a:gd name="adj1" fmla="val 50000"/>
              <a:gd name="adj2" fmla="val 193912"/>
            </a:avLst>
          </a:prstGeom>
          <a:gradFill rotWithShape="1">
            <a:gsLst>
              <a:gs pos="0">
                <a:srgbClr val="FF9900"/>
              </a:gs>
              <a:gs pos="50000">
                <a:srgbClr val="FF9933"/>
              </a:gs>
              <a:gs pos="100000">
                <a:srgbClr val="FF99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3" name="Rectangle 7"/>
          <p:cNvSpPr>
            <a:spLocks noChangeArrowheads="1"/>
          </p:cNvSpPr>
          <p:nvPr/>
        </p:nvSpPr>
        <p:spPr bwMode="ltGray">
          <a:xfrm>
            <a:off x="285750" y="5516563"/>
            <a:ext cx="1109663" cy="822325"/>
          </a:xfrm>
          <a:prstGeom prst="rect">
            <a:avLst/>
          </a:prstGeom>
          <a:gradFill rotWithShape="1">
            <a:gsLst>
              <a:gs pos="0">
                <a:srgbClr val="777777"/>
              </a:gs>
              <a:gs pos="50000">
                <a:srgbClr val="DDDDDD"/>
              </a:gs>
              <a:gs pos="100000">
                <a:srgbClr val="777777"/>
              </a:gs>
            </a:gsLst>
            <a:lin ang="0" scaled="1"/>
          </a:gradFill>
          <a:ln w="19050" algn="ctr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defRPr/>
            </a:pPr>
            <a:r>
              <a:rPr lang="ru-RU" sz="1200" b="1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</a:rPr>
              <a:t>ОФ </a:t>
            </a:r>
          </a:p>
          <a:p>
            <a:pPr algn="ctr">
              <a:defRPr/>
            </a:pPr>
            <a:r>
              <a:rPr lang="ru-RU" sz="1200" b="1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</a:rPr>
              <a:t>«шахты</a:t>
            </a:r>
          </a:p>
          <a:p>
            <a:pPr algn="ctr">
              <a:defRPr/>
            </a:pPr>
            <a:r>
              <a:rPr lang="ru-RU" sz="1200" b="1">
                <a:solidFill>
                  <a:srgbClr val="000000"/>
                </a:solidFill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</a:rPr>
              <a:t>Заречная»</a:t>
            </a:r>
          </a:p>
        </p:txBody>
      </p:sp>
      <p:cxnSp>
        <p:nvCxnSpPr>
          <p:cNvPr id="2172950" name="Straight Connector 15"/>
          <p:cNvCxnSpPr>
            <a:cxnSpLocks noChangeShapeType="1"/>
          </p:cNvCxnSpPr>
          <p:nvPr/>
        </p:nvCxnSpPr>
        <p:spPr bwMode="auto">
          <a:xfrm flipV="1">
            <a:off x="1395413" y="6053138"/>
            <a:ext cx="244475" cy="0"/>
          </a:xfrm>
          <a:prstGeom prst="line">
            <a:avLst/>
          </a:prstGeom>
          <a:noFill/>
          <a:ln w="38100">
            <a:solidFill>
              <a:schemeClr val="accent2"/>
            </a:solidFill>
            <a:prstDash val="sysDot"/>
            <a:miter lim="800000"/>
            <a:headEnd/>
            <a:tailEnd type="triangle" w="med" len="med"/>
          </a:ln>
        </p:spPr>
      </p:cxnSp>
      <p:cxnSp>
        <p:nvCxnSpPr>
          <p:cNvPr id="2172951" name="Straight Connector 15"/>
          <p:cNvCxnSpPr>
            <a:cxnSpLocks noChangeShapeType="1"/>
          </p:cNvCxnSpPr>
          <p:nvPr/>
        </p:nvCxnSpPr>
        <p:spPr bwMode="auto">
          <a:xfrm flipV="1">
            <a:off x="1639888" y="4108450"/>
            <a:ext cx="252412" cy="1944688"/>
          </a:xfrm>
          <a:prstGeom prst="line">
            <a:avLst/>
          </a:prstGeom>
          <a:noFill/>
          <a:ln w="38100">
            <a:solidFill>
              <a:schemeClr val="accent2"/>
            </a:solidFill>
            <a:prstDash val="sysDot"/>
            <a:miter lim="800000"/>
            <a:headEnd/>
            <a:tailEnd type="triangle" w="med" len="med"/>
          </a:ln>
        </p:spPr>
      </p:cxnSp>
      <p:sp>
        <p:nvSpPr>
          <p:cNvPr id="764954" name="Rectangle 26"/>
          <p:cNvSpPr>
            <a:spLocks noChangeArrowheads="1"/>
          </p:cNvSpPr>
          <p:nvPr/>
        </p:nvSpPr>
        <p:spPr bwMode="auto">
          <a:xfrm>
            <a:off x="3460750" y="4356100"/>
            <a:ext cx="847725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914400">
              <a:lnSpc>
                <a:spcPct val="70000"/>
              </a:lnSpc>
              <a:defRPr/>
            </a:pPr>
            <a:r>
              <a:rPr lang="ru-RU" sz="12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Насосная</a:t>
            </a:r>
          </a:p>
          <a:p>
            <a:pPr algn="ctr" defTabSz="914400">
              <a:lnSpc>
                <a:spcPct val="70000"/>
              </a:lnSpc>
              <a:defRPr/>
            </a:pPr>
            <a:r>
              <a:rPr lang="ru-RU" sz="12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станция</a:t>
            </a:r>
          </a:p>
        </p:txBody>
      </p:sp>
      <p:pic>
        <p:nvPicPr>
          <p:cNvPr id="2172953" name="Picture 27" descr="1246951450foto1_bi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l="12874" r="17072"/>
          <a:stretch>
            <a:fillRect/>
          </a:stretch>
        </p:blipFill>
        <p:spPr bwMode="auto">
          <a:xfrm>
            <a:off x="3584575" y="4149725"/>
            <a:ext cx="238125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72954" name="Picture 28" descr="1246951450foto1_bi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l="12874" r="17072"/>
          <a:stretch>
            <a:fillRect/>
          </a:stretch>
        </p:blipFill>
        <p:spPr bwMode="auto">
          <a:xfrm>
            <a:off x="3884613" y="4083050"/>
            <a:ext cx="238125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72955" name="Picture 29" descr="1246951450foto1_bi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l="12874" r="17072"/>
          <a:stretch>
            <a:fillRect/>
          </a:stretch>
        </p:blipFill>
        <p:spPr bwMode="auto">
          <a:xfrm>
            <a:off x="7616825" y="4083050"/>
            <a:ext cx="238125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72956" name="Picture 30" descr="1246951450foto1_big"/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rcRect l="12874" r="17072"/>
          <a:stretch>
            <a:fillRect/>
          </a:stretch>
        </p:blipFill>
        <p:spPr bwMode="auto">
          <a:xfrm>
            <a:off x="7854950" y="4022725"/>
            <a:ext cx="238125" cy="25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72957" name="AutoShape 29"/>
          <p:cNvSpPr>
            <a:spLocks noChangeArrowheads="1"/>
          </p:cNvSpPr>
          <p:nvPr/>
        </p:nvSpPr>
        <p:spPr bwMode="auto">
          <a:xfrm>
            <a:off x="4411663" y="3324225"/>
            <a:ext cx="2376487" cy="323850"/>
          </a:xfrm>
          <a:prstGeom prst="rightArrow">
            <a:avLst>
              <a:gd name="adj1" fmla="val 50000"/>
              <a:gd name="adj2" fmla="val 183456"/>
            </a:avLst>
          </a:prstGeom>
          <a:solidFill>
            <a:srgbClr val="CC3300"/>
          </a:solidFill>
          <a:ln w="9525">
            <a:solidFill>
              <a:srgbClr val="663300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764959" name="Rectangle 31"/>
          <p:cNvSpPr>
            <a:spLocks noChangeArrowheads="1"/>
          </p:cNvSpPr>
          <p:nvPr/>
        </p:nvSpPr>
        <p:spPr bwMode="auto">
          <a:xfrm>
            <a:off x="7578725" y="4337050"/>
            <a:ext cx="847725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914400">
              <a:lnSpc>
                <a:spcPct val="70000"/>
              </a:lnSpc>
              <a:defRPr/>
            </a:pPr>
            <a:r>
              <a:rPr lang="ru-RU" sz="12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Насосная</a:t>
            </a:r>
          </a:p>
          <a:p>
            <a:pPr algn="ctr" defTabSz="914400">
              <a:lnSpc>
                <a:spcPct val="70000"/>
              </a:lnSpc>
              <a:defRPr/>
            </a:pPr>
            <a:r>
              <a:rPr lang="ru-RU" sz="12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станция</a:t>
            </a:r>
          </a:p>
        </p:txBody>
      </p:sp>
      <p:sp>
        <p:nvSpPr>
          <p:cNvPr id="764960" name="Rectangle 32"/>
          <p:cNvSpPr>
            <a:spLocks noChangeArrowheads="1"/>
          </p:cNvSpPr>
          <p:nvPr/>
        </p:nvSpPr>
        <p:spPr bwMode="auto">
          <a:xfrm>
            <a:off x="6550025" y="4452938"/>
            <a:ext cx="1066800" cy="47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914400">
              <a:lnSpc>
                <a:spcPct val="70000"/>
              </a:lnSpc>
              <a:defRPr/>
            </a:pPr>
            <a:r>
              <a:rPr lang="ru-RU" sz="12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Емкости-</a:t>
            </a:r>
          </a:p>
          <a:p>
            <a:pPr algn="ctr" defTabSz="914400">
              <a:lnSpc>
                <a:spcPct val="70000"/>
              </a:lnSpc>
              <a:defRPr/>
            </a:pPr>
            <a:r>
              <a:rPr lang="ru-RU" sz="12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хранилища</a:t>
            </a:r>
          </a:p>
          <a:p>
            <a:pPr algn="ctr" defTabSz="914400">
              <a:lnSpc>
                <a:spcPct val="70000"/>
              </a:lnSpc>
              <a:defRPr/>
            </a:pPr>
            <a:r>
              <a:rPr lang="ru-RU" sz="12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ВУТ</a:t>
            </a:r>
          </a:p>
        </p:txBody>
      </p:sp>
      <p:sp>
        <p:nvSpPr>
          <p:cNvPr id="4" name="TextBox 23"/>
          <p:cNvSpPr txBox="1">
            <a:spLocks noChangeArrowheads="1"/>
          </p:cNvSpPr>
          <p:nvPr/>
        </p:nvSpPr>
        <p:spPr bwMode="auto">
          <a:xfrm>
            <a:off x="1325563" y="144463"/>
            <a:ext cx="7237412" cy="1160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83969" bIns="0"/>
          <a:lstStyle/>
          <a:p>
            <a:pPr marL="160338" indent="-160338" algn="ctr">
              <a:lnSpc>
                <a:spcPct val="70000"/>
              </a:lnSpc>
              <a:spcAft>
                <a:spcPts val="300"/>
              </a:spcAft>
              <a:buFont typeface="Arial" charset="0"/>
              <a:buNone/>
              <a:defRPr/>
            </a:pPr>
            <a:r>
              <a:rPr lang="ru-RU" sz="28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Схема</a:t>
            </a:r>
          </a:p>
          <a:p>
            <a:pPr marL="160338" indent="-160338" algn="ctr">
              <a:lnSpc>
                <a:spcPct val="70000"/>
              </a:lnSpc>
              <a:spcAft>
                <a:spcPts val="300"/>
              </a:spcAft>
              <a:buFont typeface="Arial" charset="0"/>
              <a:buNone/>
              <a:defRPr/>
            </a:pPr>
            <a:r>
              <a:rPr lang="ru-RU" sz="28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технологического комплекса утилизации угольных шламов  на Беловской ГРЭС</a:t>
            </a:r>
            <a:endParaRPr lang="en-US" sz="2800" b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</p:spTree>
  </p:cSld>
  <p:clrMapOvr>
    <a:masterClrMapping/>
  </p:clrMapOvr>
  <p:transition advTm="12000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3953" name="object 3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-3175" y="-36513"/>
            <a:ext cx="9909175" cy="1196976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endParaRPr lang="ru-RU" sz="2000" b="1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  <p:sp>
        <p:nvSpPr>
          <p:cNvPr id="835586" name="Rectangle 2"/>
          <p:cNvSpPr>
            <a:spLocks noGrp="1" noChangeArrowheads="1"/>
          </p:cNvSpPr>
          <p:nvPr>
            <p:ph type="title"/>
          </p:nvPr>
        </p:nvSpPr>
        <p:spPr>
          <a:xfrm>
            <a:off x="-3175" y="88900"/>
            <a:ext cx="9906000" cy="1143000"/>
          </a:xfrm>
        </p:spPr>
        <p:txBody>
          <a:bodyPr/>
          <a:lstStyle/>
          <a:p>
            <a:pPr algn="ctr">
              <a:defRPr/>
            </a:pPr>
            <a:r>
              <a:rPr lang="ru-RU" sz="2800" b="1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Технико-экономические показатели по частичной </a:t>
            </a:r>
            <a:br>
              <a:rPr lang="ru-RU" sz="2800" b="1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</a:br>
            <a:r>
              <a:rPr lang="ru-RU" sz="2800" b="1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замене угольного топлива на котлах ПК-40 Беловской ГРЭС ВУТ</a:t>
            </a:r>
            <a:r>
              <a:rPr lang="en-US" sz="2800" b="1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</a:t>
            </a:r>
            <a:r>
              <a:rPr lang="ru-RU" sz="2800" b="1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на  основе угольных шламов</a:t>
            </a:r>
          </a:p>
        </p:txBody>
      </p:sp>
      <p:graphicFrame>
        <p:nvGraphicFramePr>
          <p:cNvPr id="1652791" name="Group 55"/>
          <p:cNvGraphicFramePr>
            <a:graphicFrameLocks noGrp="1"/>
          </p:cNvGraphicFramePr>
          <p:nvPr>
            <p:ph idx="1"/>
          </p:nvPr>
        </p:nvGraphicFramePr>
        <p:xfrm>
          <a:off x="620713" y="1387475"/>
          <a:ext cx="8934450" cy="4699000"/>
        </p:xfrm>
        <a:graphic>
          <a:graphicData uri="http://schemas.openxmlformats.org/drawingml/2006/table">
            <a:tbl>
              <a:tblPr/>
              <a:tblGrid>
                <a:gridCol w="5581650"/>
                <a:gridCol w="1600200"/>
                <a:gridCol w="1752600"/>
              </a:tblGrid>
              <a:tr h="412750"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Наименование показателей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Ед. изм.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ВУТ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</a:tr>
              <a:tr h="41116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Годовая потребность ВУТ 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т.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Times New Roman" pitchFamily="18" charset="0"/>
                        </a:rPr>
                        <a:t> </a:t>
                      </a: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00 ,0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41275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Доля ВУТ в топливном балансе блока котла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25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41275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Низшая теплота сгорания топлива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кал/т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,78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41116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Капитальные затраты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лн. руб.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0,0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41116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Себестоимость ВУТ на ГРЭС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./т.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33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412750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Экономический эффект замещения 1т угля на   ВУТ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./т.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63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41275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Снижение затрат на 1Гкал тепловой энергии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руб. /Гкал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4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411163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Совокупный экономический эффект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лн.руб./</a:t>
                      </a:r>
                    </a:p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д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6,0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412750">
                <a:tc>
                  <a:txBody>
                    <a:bodyPr/>
                    <a:lstStyle/>
                    <a:p>
                      <a:pPr marL="342900" marR="0" lvl="0" indent="-34290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  Срок окупаемости капиталовложений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ет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 более 1,5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advTm="12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27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6527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4977" name="object 3"/>
          <p:cNvSpPr>
            <a:spLocks noChangeArrowheads="1"/>
          </p:cNvSpPr>
          <p:nvPr/>
        </p:nvSpPr>
        <p:spPr bwMode="auto">
          <a:xfrm>
            <a:off x="0" y="0"/>
            <a:ext cx="9906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0" y="0"/>
            <a:ext cx="9909175" cy="1268413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endParaRPr lang="en-US" sz="2400" b="1">
              <a:solidFill>
                <a:srgbClr val="FFC000"/>
              </a:solidFill>
              <a:latin typeface="Cambria" pitchFamily="18" charset="0"/>
              <a:cs typeface="Times New Roman" pitchFamily="18" charset="0"/>
            </a:endParaRPr>
          </a:p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r>
              <a:rPr lang="en-US" sz="2400" b="1">
                <a:solidFill>
                  <a:srgbClr val="FFC000"/>
                </a:solidFill>
                <a:latin typeface="Cambria" pitchFamily="18" charset="0"/>
                <a:cs typeface="Times New Roman" pitchFamily="18" charset="0"/>
              </a:rPr>
              <a:t>   </a:t>
            </a:r>
            <a:endParaRPr lang="ru-RU" sz="2000" b="1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  <p:sp>
        <p:nvSpPr>
          <p:cNvPr id="35841" name="Text Box 2"/>
          <p:cNvSpPr txBox="1">
            <a:spLocks noChangeArrowheads="1"/>
          </p:cNvSpPr>
          <p:nvPr/>
        </p:nvSpPr>
        <p:spPr bwMode="auto">
          <a:xfrm>
            <a:off x="384175" y="0"/>
            <a:ext cx="9244013" cy="1187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>
              <a:defRPr/>
            </a:pP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Технико-экономические показатели при частичной замене </a:t>
            </a:r>
          </a:p>
          <a:p>
            <a:pPr algn="ctr" defTabSz="914400">
              <a:defRPr/>
            </a:pP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Угля водоугольным топливом на одном котле ЗапСибТЭЦ</a:t>
            </a:r>
          </a:p>
          <a:p>
            <a:pPr algn="ctr" defTabSz="914400">
              <a:defRPr/>
            </a:pP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(с гидротранспортом ВУТ на 5 км)</a:t>
            </a:r>
          </a:p>
        </p:txBody>
      </p:sp>
      <p:graphicFrame>
        <p:nvGraphicFramePr>
          <p:cNvPr id="1074522" name="Group 346"/>
          <p:cNvGraphicFramePr>
            <a:graphicFrameLocks noGrp="1"/>
          </p:cNvGraphicFramePr>
          <p:nvPr/>
        </p:nvGraphicFramePr>
        <p:xfrm>
          <a:off x="860425" y="1484313"/>
          <a:ext cx="8491538" cy="4664075"/>
        </p:xfrm>
        <a:graphic>
          <a:graphicData uri="http://schemas.openxmlformats.org/drawingml/2006/table">
            <a:tbl>
              <a:tblPr/>
              <a:tblGrid>
                <a:gridCol w="5084762"/>
                <a:gridCol w="1665288"/>
                <a:gridCol w="1741487"/>
              </a:tblGrid>
              <a:tr h="53181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Наименование показателей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Ед. изм.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ВУТ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  <a:tr h="531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довая потребность ВУТ (</a:t>
                      </a:r>
                      <a:r>
                        <a:rPr kumimoji="0" 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Q</a:t>
                      </a: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=30т/ч) 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т.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4,0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531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ля ВУТ в топливном балансе блока котла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35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531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изшая теплота сгорания топлива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кал/т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,3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531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апитальные затраты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лн. руб.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0,0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531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щий экономический эффект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лн.руб./год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7,0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9413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Экономический эффект от замещения 1 т угля на ВУТ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уб./т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3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5318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ок окупаемости капиталовложений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ет</a:t>
                      </a:r>
                      <a:endParaRPr kumimoji="0" lang="ru-RU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60000"/>
                        <a:buFontTx/>
                        <a:buNone/>
                        <a:tabLst/>
                      </a:pPr>
                      <a:r>
                        <a:rPr kumimoji="0" lang="ru-RU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 более 1,5</a:t>
                      </a:r>
                      <a:endParaRPr kumimoji="0" lang="en-US" sz="20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advTm="15657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6001" name="object 3"/>
          <p:cNvSpPr>
            <a:spLocks noChangeArrowheads="1"/>
          </p:cNvSpPr>
          <p:nvPr/>
        </p:nvSpPr>
        <p:spPr bwMode="auto">
          <a:xfrm>
            <a:off x="0" y="0"/>
            <a:ext cx="9906000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-11113" y="0"/>
            <a:ext cx="9909176" cy="1552575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endParaRPr lang="en-US" sz="2400" b="1">
              <a:solidFill>
                <a:srgbClr val="FFC000"/>
              </a:solidFill>
              <a:latin typeface="Cambria" pitchFamily="18" charset="0"/>
              <a:cs typeface="Times New Roman" pitchFamily="18" charset="0"/>
            </a:endParaRPr>
          </a:p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r>
              <a:rPr lang="en-US" sz="2400" b="1">
                <a:solidFill>
                  <a:srgbClr val="FFC000"/>
                </a:solidFill>
                <a:latin typeface="Cambria" pitchFamily="18" charset="0"/>
                <a:cs typeface="Times New Roman" pitchFamily="18" charset="0"/>
              </a:rPr>
              <a:t>   </a:t>
            </a:r>
            <a:endParaRPr lang="ru-RU" sz="2000" b="1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  <p:graphicFrame>
        <p:nvGraphicFramePr>
          <p:cNvPr id="1066408" name="Group 424"/>
          <p:cNvGraphicFramePr>
            <a:graphicFrameLocks noGrp="1"/>
          </p:cNvGraphicFramePr>
          <p:nvPr>
            <p:ph/>
          </p:nvPr>
        </p:nvGraphicFramePr>
        <p:xfrm>
          <a:off x="630238" y="1566863"/>
          <a:ext cx="8634412" cy="5056187"/>
        </p:xfrm>
        <a:graphic>
          <a:graphicData uri="http://schemas.openxmlformats.org/drawingml/2006/table">
            <a:tbl>
              <a:tblPr/>
              <a:tblGrid>
                <a:gridCol w="5351462"/>
                <a:gridCol w="1603375"/>
                <a:gridCol w="1679575"/>
              </a:tblGrid>
              <a:tr h="744538"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Наименование показателей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Ед. изм.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Значение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folHlink"/>
                    </a:solidFill>
                  </a:tcPr>
                </a:tc>
              </a:tr>
              <a:tr h="54451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Электрическая мощность ТЭЦ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МВт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6,0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542925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Годовое потребление фильтр-кека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тыс.т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45,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54451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Годовое производство ВУТ, </a:t>
                      </a: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Q</a:t>
                      </a: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=7,5т/ч 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тыс.т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56,0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542925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Низшая теплота сгорания топлива (ВУТ)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Гкал/т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3,3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54451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Arial" charset="0"/>
                          <a:cs typeface="Times New Roman" pitchFamily="18" charset="0"/>
                        </a:rPr>
                        <a:t> </a:t>
                      </a: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Годовое производство эл/энергии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МВт</a:t>
                      </a: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  <a:sym typeface="Symbol" pitchFamily="18" charset="2"/>
                        </a:rPr>
                        <a:t></a:t>
                      </a: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ч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Times New Roman" pitchFamily="18" charset="0"/>
                        <a:cs typeface="Times New Roman" pitchFamily="18" charset="0"/>
                        <a:sym typeface="Symbol" pitchFamily="18" charset="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48 000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504825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Arial" charset="0"/>
                          <a:cs typeface="Times New Roman" pitchFamily="18" charset="0"/>
                        </a:rPr>
                        <a:t> </a:t>
                      </a: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Капитальные затраты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млн. руб.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464,5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  <a:tr h="542925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Arial" charset="0"/>
                          <a:cs typeface="Times New Roman" pitchFamily="18" charset="0"/>
                        </a:rPr>
                        <a:t> </a:t>
                      </a:r>
                      <a:r>
                        <a:rPr kumimoji="0" 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Себестоимость ВУТ 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руб./т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300,0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ECFF"/>
                    </a:solidFill>
                  </a:tcPr>
                </a:tc>
              </a:tr>
              <a:tr h="54451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Arial" charset="0"/>
                          <a:cs typeface="Times New Roman" pitchFamily="18" charset="0"/>
                        </a:rPr>
                        <a:t> </a:t>
                      </a: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Себестоимость электрической энергии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руб/кВт</a:t>
                      </a: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  <a:sym typeface="Symbol" pitchFamily="18" charset="2"/>
                        </a:rPr>
                        <a:t>ч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  <a:sym typeface="Symbol" pitchFamily="18" charset="2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FFFFFF"/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не более 1,5</a:t>
                      </a:r>
                      <a:endParaRPr kumimoji="0" lang="ru-RU" sz="2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FFFFFF"/>
                          </a:outerShdw>
                        </a:effectLst>
                        <a:latin typeface="Arial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AEAEA"/>
                    </a:solidFill>
                  </a:tcPr>
                </a:tc>
              </a:tr>
            </a:tbl>
          </a:graphicData>
        </a:graphic>
      </p:graphicFrame>
      <p:sp>
        <p:nvSpPr>
          <p:cNvPr id="353738" name="Rectangle 458"/>
          <p:cNvSpPr>
            <a:spLocks noChangeArrowheads="1"/>
          </p:cNvSpPr>
          <p:nvPr/>
        </p:nvSpPr>
        <p:spPr bwMode="auto">
          <a:xfrm>
            <a:off x="307975" y="0"/>
            <a:ext cx="9204325" cy="11874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 defTabSz="914400">
              <a:defRPr/>
            </a:pPr>
            <a:r>
              <a:rPr kumimoji="1" lang="ru-RU" sz="2400" b="1">
                <a:solidFill>
                  <a:srgbClr val="2C4B2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Мини ТЭЦ </a:t>
            </a:r>
            <a:r>
              <a:rPr kumimoji="1" lang="en-US" sz="2400" b="1">
                <a:solidFill>
                  <a:srgbClr val="2C4B2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6</a:t>
            </a:r>
            <a:r>
              <a:rPr kumimoji="1" lang="ru-RU" sz="2400" b="1">
                <a:solidFill>
                  <a:srgbClr val="2C4B2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МВт на водоугольном топливе, приготовленном </a:t>
            </a:r>
          </a:p>
          <a:p>
            <a:pPr algn="ctr" defTabSz="914400">
              <a:defRPr/>
            </a:pPr>
            <a:r>
              <a:rPr kumimoji="1" lang="ru-RU" sz="2400" b="1">
                <a:solidFill>
                  <a:srgbClr val="2C4B25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на основе отходов углеобогащения (шламов) Калтанской ОФ («Кузбассразрезуголь»)</a:t>
            </a:r>
          </a:p>
        </p:txBody>
      </p:sp>
    </p:spTree>
  </p:cSld>
  <p:clrMapOvr>
    <a:masterClrMapping/>
  </p:clrMapOvr>
  <p:transition advTm="12000"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77025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906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306203" name="Group 27"/>
          <p:cNvGraphicFramePr>
            <a:graphicFrameLocks noGrp="1"/>
          </p:cNvGraphicFramePr>
          <p:nvPr>
            <p:ph idx="4294967295"/>
          </p:nvPr>
        </p:nvGraphicFramePr>
        <p:xfrm>
          <a:off x="0" y="4479925"/>
          <a:ext cx="7567613" cy="2103438"/>
        </p:xfrm>
        <a:graphic>
          <a:graphicData uri="http://schemas.openxmlformats.org/drawingml/2006/table">
            <a:tbl>
              <a:tblPr/>
              <a:tblGrid>
                <a:gridCol w="4075113"/>
                <a:gridCol w="1662112"/>
                <a:gridCol w="1830388"/>
              </a:tblGrid>
              <a:tr h="504825">
                <a:tc rowSpan="2"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ид топлива (способ сжигания)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держание вредных выбросов в дымовых газах, мг/м</a:t>
                      </a:r>
                      <a:r>
                        <a:rPr kumimoji="0" lang="ru-RU" altLang="ru-RU" sz="1800" b="1" i="0" u="none" strike="noStrike" cap="none" normalizeH="0" baseline="3000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127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О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O</a:t>
                      </a:r>
                      <a:r>
                        <a:rPr kumimoji="0" lang="en-US" altLang="ru-RU" sz="1800" b="1" i="0" u="none" strike="noStrike" cap="none" normalizeH="0" baseline="-3000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X</a:t>
                      </a:r>
                      <a:endParaRPr kumimoji="0" lang="en-US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/>
                    </a:solidFill>
                  </a:tcPr>
                </a:tc>
              </a:tr>
              <a:tr h="4111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голь СС</a:t>
                      </a:r>
                      <a:r>
                        <a:rPr kumimoji="0" lang="ru-RU" altLang="ru-RU" sz="1800" b="1" i="0" u="none" strike="noStrike" cap="none" normalizeH="0" baseline="-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 </a:t>
                      </a:r>
                      <a:r>
                        <a:rPr kumimoji="0" lang="ru-RU" alt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слоевой)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0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50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</a:tr>
              <a:tr h="347663">
                <a:tc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УТ (вихревой с механизированной решеткой)</a:t>
                      </a: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0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0</a:t>
                      </a:r>
                      <a:endParaRPr kumimoji="0" lang="ru-RU" alt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CFFFF"/>
                    </a:solidFill>
                  </a:tcPr>
                </a:tc>
              </a:tr>
            </a:tbl>
          </a:graphicData>
        </a:graphic>
      </p:graphicFrame>
      <p:sp>
        <p:nvSpPr>
          <p:cNvPr id="833559" name="Прямоугольник 20"/>
          <p:cNvSpPr>
            <a:spLocks noChangeArrowheads="1"/>
          </p:cNvSpPr>
          <p:nvPr/>
        </p:nvSpPr>
        <p:spPr bwMode="auto">
          <a:xfrm>
            <a:off x="0" y="1989138"/>
            <a:ext cx="9321800" cy="191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/>
            <a:r>
              <a:rPr lang="ru-RU" altLang="ru-RU" sz="2400" b="1">
                <a:solidFill>
                  <a:schemeClr val="bg1"/>
                </a:solidFill>
                <a:latin typeface="Times New Roman" pitchFamily="18" charset="0"/>
              </a:rPr>
              <a:t>Водоугольное топливо соответствует классу безопасных веществ, не содержит агрессивные и вредные компоненты; </a:t>
            </a:r>
          </a:p>
          <a:p>
            <a:pPr defTabSz="914400"/>
            <a:r>
              <a:rPr lang="ru-RU" altLang="ru-RU" sz="2400" b="1">
                <a:solidFill>
                  <a:schemeClr val="bg1"/>
                </a:solidFill>
                <a:latin typeface="Times New Roman" pitchFamily="18" charset="0"/>
              </a:rPr>
              <a:t>взрыво- и пожаробезопасно – содержание воды 25-40%;</a:t>
            </a:r>
          </a:p>
          <a:p>
            <a:pPr defTabSz="914400"/>
            <a:r>
              <a:rPr lang="ru-RU" altLang="ru-RU" sz="2400" b="1">
                <a:solidFill>
                  <a:schemeClr val="bg1"/>
                </a:solidFill>
                <a:latin typeface="Times New Roman" pitchFamily="18" charset="0"/>
              </a:rPr>
              <a:t>позволяет в 1,5-3,5 раза снизить вредные выбросы в атмосферу (пыли, оксидов азота, двуокиси серы и др.). </a:t>
            </a:r>
          </a:p>
        </p:txBody>
      </p:sp>
      <p:sp>
        <p:nvSpPr>
          <p:cNvPr id="306200" name="Text Box 24"/>
          <p:cNvSpPr txBox="1">
            <a:spLocks noChangeArrowheads="1"/>
          </p:cNvSpPr>
          <p:nvPr/>
        </p:nvSpPr>
        <p:spPr bwMode="auto">
          <a:xfrm>
            <a:off x="0" y="0"/>
            <a:ext cx="9906000" cy="1552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algn="ctr" defTabSz="914400">
              <a:defRPr/>
            </a:pPr>
            <a:r>
              <a:rPr lang="ru-RU" altLang="ru-RU"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Экологические показатели </a:t>
            </a:r>
            <a:endParaRPr lang="en-US" altLang="ru-RU" sz="2400" b="1">
              <a:solidFill>
                <a:schemeClr val="bg1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algn="ctr" defTabSz="914400">
              <a:defRPr/>
            </a:pPr>
            <a:r>
              <a:rPr lang="ru-RU" altLang="ru-RU" sz="2400" b="1">
                <a:solidFill>
                  <a:schemeClr val="bg1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теплогенерирующего комплекса, работающего на водоугольном топливе, полученном на основе тонкодисперсных отходов углеобогащения </a:t>
            </a:r>
          </a:p>
        </p:txBody>
      </p:sp>
    </p:spTree>
  </p:cSld>
  <p:clrMapOvr>
    <a:masterClrMapping/>
  </p:clrMapOvr>
  <p:transition advTm="12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3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833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355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Picture 2" descr="Горение 2"/>
          <p:cNvPicPr>
            <a:picLocks noChangeAspect="1" noChangeArrowheads="1"/>
          </p:cNvPicPr>
          <p:nvPr>
            <p:ph type="body" idx="4294967295"/>
          </p:nvPr>
        </p:nvPicPr>
        <p:blipFill>
          <a:blip r:embed="rId2"/>
          <a:srcRect/>
          <a:stretch>
            <a:fillRect/>
          </a:stretch>
        </p:blipFill>
        <p:spPr>
          <a:xfrm>
            <a:off x="0" y="-1588"/>
            <a:ext cx="9906000" cy="6859588"/>
          </a:xfrm>
        </p:spPr>
      </p:pic>
      <p:sp>
        <p:nvSpPr>
          <p:cNvPr id="2178050" name="Text Box 5"/>
          <p:cNvSpPr txBox="1">
            <a:spLocks noChangeArrowheads="1"/>
          </p:cNvSpPr>
          <p:nvPr/>
        </p:nvSpPr>
        <p:spPr bwMode="auto">
          <a:xfrm>
            <a:off x="1749425" y="2708275"/>
            <a:ext cx="7402513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4400"/>
            <a:r>
              <a:rPr lang="ru-RU" sz="5400" b="1">
                <a:solidFill>
                  <a:srgbClr val="0066CC"/>
                </a:solidFill>
                <a:latin typeface="Times New Roman" pitchFamily="18" charset="0"/>
              </a:rPr>
              <a:t>Спасибо  за  внимание!</a:t>
            </a:r>
          </a:p>
        </p:txBody>
      </p:sp>
    </p:spTree>
  </p:cSld>
  <p:clrMapOvr>
    <a:masterClrMapping/>
  </p:clrMapOvr>
  <p:transition advTm="12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4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40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4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44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0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8" presetClass="entr" presetSubtype="1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Left)">
                                      <p:cBhvr>
                                        <p:cTn id="14" dur="500"/>
                                        <p:tgtEl>
                                          <p:spTgt spid="44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3713" name="object 3"/>
          <p:cNvSpPr>
            <a:spLocks noChangeArrowheads="1"/>
          </p:cNvSpPr>
          <p:nvPr/>
        </p:nvSpPr>
        <p:spPr bwMode="auto">
          <a:xfrm>
            <a:off x="0" y="0"/>
            <a:ext cx="9906000" cy="683895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-3175" y="0"/>
            <a:ext cx="9909175" cy="1196975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endParaRPr lang="en-US" sz="2400" b="1">
              <a:solidFill>
                <a:srgbClr val="FFC000"/>
              </a:solidFill>
              <a:latin typeface="Cambria" pitchFamily="18" charset="0"/>
              <a:cs typeface="Times New Roman" pitchFamily="18" charset="0"/>
            </a:endParaRPr>
          </a:p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r>
              <a:rPr lang="en-US" sz="2400" b="1">
                <a:solidFill>
                  <a:srgbClr val="FFC000"/>
                </a:solidFill>
                <a:latin typeface="Cambria" pitchFamily="18" charset="0"/>
                <a:cs typeface="Times New Roman" pitchFamily="18" charset="0"/>
              </a:rPr>
              <a:t>   </a:t>
            </a:r>
            <a:endParaRPr lang="ru-RU" sz="2000" b="1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  <p:sp>
        <p:nvSpPr>
          <p:cNvPr id="1688597" name="Rectangle 21"/>
          <p:cNvSpPr>
            <a:spLocks noChangeArrowheads="1"/>
          </p:cNvSpPr>
          <p:nvPr/>
        </p:nvSpPr>
        <p:spPr bwMode="auto">
          <a:xfrm>
            <a:off x="0" y="0"/>
            <a:ext cx="9906000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914400">
              <a:defRPr/>
            </a:pPr>
            <a:r>
              <a:rPr lang="ru-RU" sz="32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РОСТ ОБЪЕМА ДОБЫЧИ И</a:t>
            </a:r>
          </a:p>
          <a:p>
            <a:pPr algn="ctr" defTabSz="914400">
              <a:defRPr/>
            </a:pPr>
            <a:r>
              <a:rPr lang="ru-RU" sz="32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ОБОГАЩЕНИЯ УГЛЯ В КУЗБАССЕ К 2035 году</a:t>
            </a:r>
          </a:p>
        </p:txBody>
      </p:sp>
      <p:sp>
        <p:nvSpPr>
          <p:cNvPr id="2163716" name="Rectangle 23"/>
          <p:cNvSpPr>
            <a:spLocks noChangeArrowheads="1"/>
          </p:cNvSpPr>
          <p:nvPr/>
        </p:nvSpPr>
        <p:spPr bwMode="auto">
          <a:xfrm>
            <a:off x="165100" y="1196975"/>
            <a:ext cx="9732963" cy="1431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/>
            <a:r>
              <a:rPr lang="ru-RU" sz="2200" b="1">
                <a:latin typeface="Times New Roman" pitchFamily="18" charset="0"/>
              </a:rPr>
              <a:t>Ведут добычу 42 шахты и 52 разреза.</a:t>
            </a:r>
          </a:p>
          <a:p>
            <a:pPr defTabSz="914400"/>
            <a:r>
              <a:rPr lang="ru-RU" sz="2200" b="1">
                <a:latin typeface="Times New Roman" pitchFamily="18" charset="0"/>
              </a:rPr>
              <a:t>В 2019 году добыто 250 млн.т угля, что составляет более 70 % от добычи угля в России. </a:t>
            </a:r>
          </a:p>
          <a:p>
            <a:pPr defTabSz="914400"/>
            <a:r>
              <a:rPr lang="ru-RU" sz="2200" b="1">
                <a:latin typeface="Times New Roman" pitchFamily="18" charset="0"/>
              </a:rPr>
              <a:t>По коксующимся маркам доля кузбасской добычи от российской – 75 %.</a:t>
            </a:r>
          </a:p>
        </p:txBody>
      </p:sp>
      <p:pic>
        <p:nvPicPr>
          <p:cNvPr id="2163717" name="Picture 5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6F6FF"/>
              </a:clrFrom>
              <a:clrTo>
                <a:srgbClr val="F6F6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2816225"/>
            <a:ext cx="4972050" cy="3276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63718" name="Picture 4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900613" y="2628900"/>
            <a:ext cx="4997450" cy="3068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63719" name="Rectangle 51"/>
          <p:cNvSpPr>
            <a:spLocks noChangeArrowheads="1"/>
          </p:cNvSpPr>
          <p:nvPr/>
        </p:nvSpPr>
        <p:spPr bwMode="auto">
          <a:xfrm>
            <a:off x="4473575" y="5665788"/>
            <a:ext cx="5424488" cy="1096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defTabSz="914400"/>
            <a:r>
              <a:rPr lang="ru-RU" sz="2200" b="1">
                <a:latin typeface="Times New Roman" pitchFamily="18" charset="0"/>
              </a:rPr>
              <a:t>Доля обогащаемого угля составляет для:</a:t>
            </a:r>
          </a:p>
          <a:p>
            <a:pPr defTabSz="914400">
              <a:buFont typeface="Wingdings" pitchFamily="2" charset="2"/>
              <a:buChar char="Ш"/>
            </a:pPr>
            <a:r>
              <a:rPr lang="ru-RU" sz="2200" b="1">
                <a:latin typeface="Times New Roman" pitchFamily="18" charset="0"/>
              </a:rPr>
              <a:t> коксующихся углей – 100%;</a:t>
            </a:r>
          </a:p>
          <a:p>
            <a:pPr defTabSz="914400">
              <a:buFont typeface="Wingdings" pitchFamily="2" charset="2"/>
              <a:buChar char="Ш"/>
            </a:pPr>
            <a:r>
              <a:rPr lang="ru-RU" sz="2200" b="1">
                <a:latin typeface="Times New Roman" pitchFamily="18" charset="0"/>
              </a:rPr>
              <a:t> энергетических - более 45%.</a:t>
            </a:r>
          </a:p>
        </p:txBody>
      </p:sp>
      <p:sp>
        <p:nvSpPr>
          <p:cNvPr id="2163720" name="Rectangle 41"/>
          <p:cNvSpPr>
            <a:spLocks noChangeArrowheads="1"/>
          </p:cNvSpPr>
          <p:nvPr/>
        </p:nvSpPr>
        <p:spPr bwMode="auto">
          <a:xfrm>
            <a:off x="1771650" y="5351463"/>
            <a:ext cx="566738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4400"/>
            <a:r>
              <a:rPr lang="ru-RU" sz="1200" b="1" i="1">
                <a:latin typeface="Times New Roman" pitchFamily="18" charset="0"/>
              </a:rPr>
              <a:t>факт</a:t>
            </a:r>
          </a:p>
        </p:txBody>
      </p:sp>
      <p:sp>
        <p:nvSpPr>
          <p:cNvPr id="2163721" name="Rectangle 41"/>
          <p:cNvSpPr>
            <a:spLocks noChangeArrowheads="1"/>
          </p:cNvSpPr>
          <p:nvPr/>
        </p:nvSpPr>
        <p:spPr bwMode="auto">
          <a:xfrm>
            <a:off x="871538" y="5372100"/>
            <a:ext cx="566737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4400"/>
            <a:r>
              <a:rPr lang="ru-RU" sz="1200" b="1" i="1">
                <a:latin typeface="Times New Roman" pitchFamily="18" charset="0"/>
              </a:rPr>
              <a:t>факт</a:t>
            </a:r>
          </a:p>
        </p:txBody>
      </p:sp>
      <p:sp>
        <p:nvSpPr>
          <p:cNvPr id="2163722" name="Rectangle 35"/>
          <p:cNvSpPr>
            <a:spLocks noChangeArrowheads="1"/>
          </p:cNvSpPr>
          <p:nvPr/>
        </p:nvSpPr>
        <p:spPr bwMode="auto">
          <a:xfrm>
            <a:off x="2768600" y="5351463"/>
            <a:ext cx="50641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4400"/>
            <a:r>
              <a:rPr lang="ru-RU" sz="1200" b="1" i="1">
                <a:latin typeface="Times New Roman" pitchFamily="18" charset="0"/>
              </a:rPr>
              <a:t>план</a:t>
            </a:r>
          </a:p>
        </p:txBody>
      </p:sp>
      <p:sp>
        <p:nvSpPr>
          <p:cNvPr id="2163723" name="Rectangle 35"/>
          <p:cNvSpPr>
            <a:spLocks noChangeArrowheads="1"/>
          </p:cNvSpPr>
          <p:nvPr/>
        </p:nvSpPr>
        <p:spPr bwMode="auto">
          <a:xfrm>
            <a:off x="3729038" y="5332413"/>
            <a:ext cx="506412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defTabSz="914400"/>
            <a:r>
              <a:rPr lang="ru-RU" sz="1200" b="1" i="1">
                <a:latin typeface="Times New Roman" pitchFamily="18" charset="0"/>
              </a:rPr>
              <a:t>план</a:t>
            </a:r>
          </a:p>
        </p:txBody>
      </p:sp>
    </p:spTree>
  </p:cSld>
  <p:clrMapOvr>
    <a:masterClrMapping/>
  </p:clrMapOvr>
  <p:transition advTm="12000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4737" name="object 3"/>
          <p:cNvSpPr>
            <a:spLocks noChangeArrowheads="1"/>
          </p:cNvSpPr>
          <p:nvPr/>
        </p:nvSpPr>
        <p:spPr bwMode="auto">
          <a:xfrm>
            <a:off x="0" y="0"/>
            <a:ext cx="9906000" cy="684688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-3175" y="0"/>
            <a:ext cx="9909175" cy="1196975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endParaRPr lang="en-US" sz="2400" b="1">
              <a:solidFill>
                <a:srgbClr val="FFC000"/>
              </a:solidFill>
              <a:latin typeface="Cambria" pitchFamily="18" charset="0"/>
              <a:cs typeface="Times New Roman" pitchFamily="18" charset="0"/>
            </a:endParaRPr>
          </a:p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r>
              <a:rPr lang="en-US" sz="2400" b="1">
                <a:solidFill>
                  <a:srgbClr val="FFC000"/>
                </a:solidFill>
                <a:latin typeface="Cambria" pitchFamily="18" charset="0"/>
                <a:cs typeface="Times New Roman" pitchFamily="18" charset="0"/>
              </a:rPr>
              <a:t>   </a:t>
            </a:r>
            <a:endParaRPr lang="ru-RU" sz="2000" b="1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  <p:sp>
        <p:nvSpPr>
          <p:cNvPr id="820288" name="Rectangle 64"/>
          <p:cNvSpPr>
            <a:spLocks noChangeArrowheads="1"/>
          </p:cNvSpPr>
          <p:nvPr/>
        </p:nvSpPr>
        <p:spPr bwMode="auto">
          <a:xfrm>
            <a:off x="73025" y="0"/>
            <a:ext cx="9832975" cy="106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ctr" defTabSz="914400">
              <a:defRPr/>
            </a:pPr>
            <a:r>
              <a:rPr lang="ru-RU" sz="32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РАСПОЛОЖЕНИЕ ДЕЙСТВУЮЩИХ ОФ</a:t>
            </a:r>
          </a:p>
          <a:p>
            <a:pPr algn="ctr" defTabSz="914400">
              <a:defRPr/>
            </a:pPr>
            <a:r>
              <a:rPr lang="ru-RU" sz="32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В РАЙОНЕ КРУПНЫХ ТЭЦ И ГРЭС  КУЗБАССА</a:t>
            </a:r>
          </a:p>
        </p:txBody>
      </p:sp>
      <p:pic>
        <p:nvPicPr>
          <p:cNvPr id="822284" name="Picture 1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6853238" y="3775075"/>
            <a:ext cx="3038475" cy="3098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22279" name="Rectangle 7"/>
          <p:cNvSpPr>
            <a:spLocks noChangeArrowheads="1"/>
          </p:cNvSpPr>
          <p:nvPr/>
        </p:nvSpPr>
        <p:spPr bwMode="auto">
          <a:xfrm>
            <a:off x="4543425" y="1196975"/>
            <a:ext cx="5348288" cy="253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 eaLnBrk="0" hangingPunct="0">
              <a:defRPr/>
            </a:pPr>
            <a:r>
              <a:rPr lang="ru-RU" alt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Угольный шлам является </a:t>
            </a:r>
          </a:p>
          <a:p>
            <a:pPr algn="r" eaLnBrk="0" hangingPunct="0">
              <a:defRPr/>
            </a:pPr>
            <a:r>
              <a:rPr lang="ru-RU" alt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наиболее токсичным </a:t>
            </a:r>
          </a:p>
          <a:p>
            <a:pPr algn="r" eaLnBrk="0" hangingPunct="0">
              <a:defRPr/>
            </a:pPr>
            <a:r>
              <a:rPr lang="ru-RU" alt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продуктом, так как в его </a:t>
            </a:r>
          </a:p>
          <a:p>
            <a:pPr algn="r" eaLnBrk="0" hangingPunct="0"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составе содержатся </a:t>
            </a:r>
          </a:p>
          <a:p>
            <a:pPr algn="r" eaLnBrk="0" hangingPunct="0"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флокулянты и коагулянты, </a:t>
            </a:r>
          </a:p>
          <a:p>
            <a:pPr algn="r" eaLnBrk="0" hangingPunct="0"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применяемые</a:t>
            </a:r>
            <a:r>
              <a:rPr lang="en-US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</a:t>
            </a: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на ОФ, которые </a:t>
            </a:r>
          </a:p>
          <a:p>
            <a:pPr algn="r" eaLnBrk="0" hangingPunct="0"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не должны попадать в </a:t>
            </a:r>
          </a:p>
          <a:p>
            <a:pPr algn="r" eaLnBrk="0" hangingPunct="0"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окружающую среду.</a:t>
            </a:r>
          </a:p>
        </p:txBody>
      </p:sp>
      <p:grpSp>
        <p:nvGrpSpPr>
          <p:cNvPr id="820286" name="Group 62"/>
          <p:cNvGrpSpPr>
            <a:grpSpLocks/>
          </p:cNvGrpSpPr>
          <p:nvPr/>
        </p:nvGrpSpPr>
        <p:grpSpPr bwMode="auto">
          <a:xfrm>
            <a:off x="3544888" y="1200150"/>
            <a:ext cx="3003550" cy="5572125"/>
            <a:chOff x="1883" y="232"/>
            <a:chExt cx="2412" cy="4015"/>
          </a:xfrm>
        </p:grpSpPr>
        <p:pic>
          <p:nvPicPr>
            <p:cNvPr id="2164746" name="Picture 4"/>
            <p:cNvPicPr>
              <a:picLocks noChangeAspect="1" noChangeArrowheads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rcRect/>
            <a:stretch>
              <a:fillRect/>
            </a:stretch>
          </p:blipFill>
          <p:spPr bwMode="auto">
            <a:xfrm>
              <a:off x="1883" y="232"/>
              <a:ext cx="2412" cy="40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64747" name="AutoShape 7"/>
            <p:cNvSpPr>
              <a:spLocks noChangeArrowheads="1"/>
            </p:cNvSpPr>
            <p:nvPr/>
          </p:nvSpPr>
          <p:spPr bwMode="auto">
            <a:xfrm>
              <a:off x="2619" y="704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48" name="AutoShape 15"/>
            <p:cNvSpPr>
              <a:spLocks noChangeArrowheads="1"/>
            </p:cNvSpPr>
            <p:nvPr/>
          </p:nvSpPr>
          <p:spPr bwMode="auto">
            <a:xfrm>
              <a:off x="2701" y="1110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49" name="AutoShape 16"/>
            <p:cNvSpPr>
              <a:spLocks noChangeArrowheads="1"/>
            </p:cNvSpPr>
            <p:nvPr/>
          </p:nvSpPr>
          <p:spPr bwMode="auto">
            <a:xfrm>
              <a:off x="2790" y="1827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50" name="AutoShape 17"/>
            <p:cNvSpPr>
              <a:spLocks noChangeArrowheads="1"/>
            </p:cNvSpPr>
            <p:nvPr/>
          </p:nvSpPr>
          <p:spPr bwMode="auto">
            <a:xfrm>
              <a:off x="3075" y="1684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51" name="AutoShape 18"/>
            <p:cNvSpPr>
              <a:spLocks noChangeArrowheads="1"/>
            </p:cNvSpPr>
            <p:nvPr/>
          </p:nvSpPr>
          <p:spPr bwMode="auto">
            <a:xfrm>
              <a:off x="2714" y="1822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52" name="AutoShape 19"/>
            <p:cNvSpPr>
              <a:spLocks noChangeArrowheads="1"/>
            </p:cNvSpPr>
            <p:nvPr/>
          </p:nvSpPr>
          <p:spPr bwMode="auto">
            <a:xfrm>
              <a:off x="2801" y="2137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53" name="AutoShape 20"/>
            <p:cNvSpPr>
              <a:spLocks noChangeArrowheads="1"/>
            </p:cNvSpPr>
            <p:nvPr/>
          </p:nvSpPr>
          <p:spPr bwMode="auto">
            <a:xfrm>
              <a:off x="2641" y="2001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54" name="AutoShape 21"/>
            <p:cNvSpPr>
              <a:spLocks noChangeArrowheads="1"/>
            </p:cNvSpPr>
            <p:nvPr/>
          </p:nvSpPr>
          <p:spPr bwMode="auto">
            <a:xfrm>
              <a:off x="2576" y="2001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55" name="AutoShape 22"/>
            <p:cNvSpPr>
              <a:spLocks noChangeArrowheads="1"/>
            </p:cNvSpPr>
            <p:nvPr/>
          </p:nvSpPr>
          <p:spPr bwMode="auto">
            <a:xfrm>
              <a:off x="2508" y="2001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56" name="AutoShape 23"/>
            <p:cNvSpPr>
              <a:spLocks noChangeArrowheads="1"/>
            </p:cNvSpPr>
            <p:nvPr/>
          </p:nvSpPr>
          <p:spPr bwMode="auto">
            <a:xfrm>
              <a:off x="2868" y="2137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57" name="AutoShape 24"/>
            <p:cNvSpPr>
              <a:spLocks noChangeArrowheads="1"/>
            </p:cNvSpPr>
            <p:nvPr/>
          </p:nvSpPr>
          <p:spPr bwMode="auto">
            <a:xfrm>
              <a:off x="2936" y="2136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58" name="AutoShape 25"/>
            <p:cNvSpPr>
              <a:spLocks noChangeArrowheads="1"/>
            </p:cNvSpPr>
            <p:nvPr/>
          </p:nvSpPr>
          <p:spPr bwMode="auto">
            <a:xfrm>
              <a:off x="3004" y="2136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59" name="AutoShape 26"/>
            <p:cNvSpPr>
              <a:spLocks noChangeArrowheads="1"/>
            </p:cNvSpPr>
            <p:nvPr/>
          </p:nvSpPr>
          <p:spPr bwMode="auto">
            <a:xfrm>
              <a:off x="3059" y="2131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60" name="AutoShape 27"/>
            <p:cNvSpPr>
              <a:spLocks noChangeArrowheads="1"/>
            </p:cNvSpPr>
            <p:nvPr/>
          </p:nvSpPr>
          <p:spPr bwMode="auto">
            <a:xfrm>
              <a:off x="3120" y="2137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61" name="AutoShape 28"/>
            <p:cNvSpPr>
              <a:spLocks noChangeArrowheads="1"/>
            </p:cNvSpPr>
            <p:nvPr/>
          </p:nvSpPr>
          <p:spPr bwMode="auto">
            <a:xfrm>
              <a:off x="2691" y="2341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62" name="AutoShape 29"/>
            <p:cNvSpPr>
              <a:spLocks noChangeArrowheads="1"/>
            </p:cNvSpPr>
            <p:nvPr/>
          </p:nvSpPr>
          <p:spPr bwMode="auto">
            <a:xfrm>
              <a:off x="2758" y="2327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63" name="AutoShape 30"/>
            <p:cNvSpPr>
              <a:spLocks noChangeArrowheads="1"/>
            </p:cNvSpPr>
            <p:nvPr/>
          </p:nvSpPr>
          <p:spPr bwMode="auto">
            <a:xfrm>
              <a:off x="2531" y="2228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64" name="AutoShape 31"/>
            <p:cNvSpPr>
              <a:spLocks noChangeArrowheads="1"/>
            </p:cNvSpPr>
            <p:nvPr/>
          </p:nvSpPr>
          <p:spPr bwMode="auto">
            <a:xfrm>
              <a:off x="2463" y="2213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65" name="AutoShape 32"/>
            <p:cNvSpPr>
              <a:spLocks noChangeArrowheads="1"/>
            </p:cNvSpPr>
            <p:nvPr/>
          </p:nvSpPr>
          <p:spPr bwMode="auto">
            <a:xfrm>
              <a:off x="2981" y="2455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66" name="AutoShape 33"/>
            <p:cNvSpPr>
              <a:spLocks noChangeArrowheads="1"/>
            </p:cNvSpPr>
            <p:nvPr/>
          </p:nvSpPr>
          <p:spPr bwMode="auto">
            <a:xfrm>
              <a:off x="3036" y="2469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67" name="AutoShape 34"/>
            <p:cNvSpPr>
              <a:spLocks noChangeArrowheads="1"/>
            </p:cNvSpPr>
            <p:nvPr/>
          </p:nvSpPr>
          <p:spPr bwMode="auto">
            <a:xfrm>
              <a:off x="3097" y="2469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68" name="AutoShape 35"/>
            <p:cNvSpPr>
              <a:spLocks noChangeArrowheads="1"/>
            </p:cNvSpPr>
            <p:nvPr/>
          </p:nvSpPr>
          <p:spPr bwMode="auto">
            <a:xfrm>
              <a:off x="3165" y="2498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69" name="AutoShape 36"/>
            <p:cNvSpPr>
              <a:spLocks noChangeArrowheads="1"/>
            </p:cNvSpPr>
            <p:nvPr/>
          </p:nvSpPr>
          <p:spPr bwMode="auto">
            <a:xfrm>
              <a:off x="2868" y="2614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70" name="AutoShape 37"/>
            <p:cNvSpPr>
              <a:spLocks noChangeArrowheads="1"/>
            </p:cNvSpPr>
            <p:nvPr/>
          </p:nvSpPr>
          <p:spPr bwMode="auto">
            <a:xfrm>
              <a:off x="3210" y="2999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71" name="AutoShape 38"/>
            <p:cNvSpPr>
              <a:spLocks noChangeArrowheads="1"/>
            </p:cNvSpPr>
            <p:nvPr/>
          </p:nvSpPr>
          <p:spPr bwMode="auto">
            <a:xfrm>
              <a:off x="3369" y="2865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72" name="AutoShape 39"/>
            <p:cNvSpPr>
              <a:spLocks noChangeArrowheads="1"/>
            </p:cNvSpPr>
            <p:nvPr/>
          </p:nvSpPr>
          <p:spPr bwMode="auto">
            <a:xfrm>
              <a:off x="3414" y="2865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73" name="AutoShape 40"/>
            <p:cNvSpPr>
              <a:spLocks noChangeArrowheads="1"/>
            </p:cNvSpPr>
            <p:nvPr/>
          </p:nvSpPr>
          <p:spPr bwMode="auto">
            <a:xfrm>
              <a:off x="3459" y="2865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74" name="AutoShape 41"/>
            <p:cNvSpPr>
              <a:spLocks noChangeArrowheads="1"/>
            </p:cNvSpPr>
            <p:nvPr/>
          </p:nvSpPr>
          <p:spPr bwMode="auto">
            <a:xfrm>
              <a:off x="3336" y="2704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75" name="AutoShape 42"/>
            <p:cNvSpPr>
              <a:spLocks noChangeArrowheads="1"/>
            </p:cNvSpPr>
            <p:nvPr/>
          </p:nvSpPr>
          <p:spPr bwMode="auto">
            <a:xfrm>
              <a:off x="3391" y="2675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76" name="AutoShape 43"/>
            <p:cNvSpPr>
              <a:spLocks noChangeArrowheads="1"/>
            </p:cNvSpPr>
            <p:nvPr/>
          </p:nvSpPr>
          <p:spPr bwMode="auto">
            <a:xfrm>
              <a:off x="3436" y="3090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77" name="AutoShape 44"/>
            <p:cNvSpPr>
              <a:spLocks noChangeArrowheads="1"/>
            </p:cNvSpPr>
            <p:nvPr/>
          </p:nvSpPr>
          <p:spPr bwMode="auto">
            <a:xfrm>
              <a:off x="2913" y="2970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78" name="AutoShape 45"/>
            <p:cNvSpPr>
              <a:spLocks noChangeArrowheads="1"/>
            </p:cNvSpPr>
            <p:nvPr/>
          </p:nvSpPr>
          <p:spPr bwMode="auto">
            <a:xfrm>
              <a:off x="2981" y="3050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79" name="AutoShape 46"/>
            <p:cNvSpPr>
              <a:spLocks noChangeArrowheads="1"/>
            </p:cNvSpPr>
            <p:nvPr/>
          </p:nvSpPr>
          <p:spPr bwMode="auto">
            <a:xfrm>
              <a:off x="3049" y="3036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80" name="AutoShape 47"/>
            <p:cNvSpPr>
              <a:spLocks noChangeArrowheads="1"/>
            </p:cNvSpPr>
            <p:nvPr/>
          </p:nvSpPr>
          <p:spPr bwMode="auto">
            <a:xfrm>
              <a:off x="3120" y="3028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81" name="AutoShape 48"/>
            <p:cNvSpPr>
              <a:spLocks noChangeArrowheads="1"/>
            </p:cNvSpPr>
            <p:nvPr/>
          </p:nvSpPr>
          <p:spPr bwMode="auto">
            <a:xfrm>
              <a:off x="3846" y="2879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82" name="AutoShape 49"/>
            <p:cNvSpPr>
              <a:spLocks noChangeArrowheads="1"/>
            </p:cNvSpPr>
            <p:nvPr/>
          </p:nvSpPr>
          <p:spPr bwMode="auto">
            <a:xfrm>
              <a:off x="3891" y="2893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83" name="AutoShape 50"/>
            <p:cNvSpPr>
              <a:spLocks noChangeArrowheads="1"/>
            </p:cNvSpPr>
            <p:nvPr/>
          </p:nvSpPr>
          <p:spPr bwMode="auto">
            <a:xfrm>
              <a:off x="3936" y="2907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84" name="AutoShape 51"/>
            <p:cNvSpPr>
              <a:spLocks noChangeArrowheads="1"/>
            </p:cNvSpPr>
            <p:nvPr/>
          </p:nvSpPr>
          <p:spPr bwMode="auto">
            <a:xfrm>
              <a:off x="2576" y="1139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85" name="AutoShape 52"/>
            <p:cNvSpPr>
              <a:spLocks noChangeArrowheads="1"/>
            </p:cNvSpPr>
            <p:nvPr/>
          </p:nvSpPr>
          <p:spPr bwMode="auto">
            <a:xfrm>
              <a:off x="2463" y="1139"/>
              <a:ext cx="45" cy="29"/>
            </a:xfrm>
            <a:prstGeom prst="triangle">
              <a:avLst>
                <a:gd name="adj" fmla="val 50000"/>
              </a:avLst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scene3d>
              <a:camera prst="legacyPerspectiveTop"/>
              <a:lightRig rig="legacyFlat3" dir="b"/>
            </a:scene3d>
            <a:sp3d extrusionH="887400" prstMaterial="legacyMatte">
              <a:bevelT w="13500" h="13500" prst="angle"/>
              <a:bevelB w="13500" h="13500" prst="angle"/>
              <a:extrusionClr>
                <a:schemeClr val="tx1"/>
              </a:extrusionClr>
            </a:sp3d>
          </p:spPr>
          <p:txBody>
            <a:bodyPr wrap="none" anchor="ctr">
              <a:flatTx/>
            </a:bodyPr>
            <a:lstStyle/>
            <a:p>
              <a:endParaRPr lang="ru-RU"/>
            </a:p>
          </p:txBody>
        </p:sp>
        <p:sp>
          <p:nvSpPr>
            <p:cNvPr id="2164786" name="Oval 53"/>
            <p:cNvSpPr>
              <a:spLocks noChangeArrowheads="1"/>
            </p:cNvSpPr>
            <p:nvPr/>
          </p:nvSpPr>
          <p:spPr bwMode="auto">
            <a:xfrm>
              <a:off x="2888" y="2341"/>
              <a:ext cx="295" cy="416"/>
            </a:xfrm>
            <a:prstGeom prst="ellips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64787" name="Oval 54"/>
            <p:cNvSpPr>
              <a:spLocks noChangeArrowheads="1"/>
            </p:cNvSpPr>
            <p:nvPr/>
          </p:nvSpPr>
          <p:spPr bwMode="auto">
            <a:xfrm>
              <a:off x="2576" y="1026"/>
              <a:ext cx="295" cy="416"/>
            </a:xfrm>
            <a:prstGeom prst="ellips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64788" name="Oval 55"/>
            <p:cNvSpPr>
              <a:spLocks noChangeArrowheads="1"/>
            </p:cNvSpPr>
            <p:nvPr/>
          </p:nvSpPr>
          <p:spPr bwMode="auto">
            <a:xfrm>
              <a:off x="2531" y="1812"/>
              <a:ext cx="295" cy="416"/>
            </a:xfrm>
            <a:prstGeom prst="ellips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64789" name="Oval 56"/>
            <p:cNvSpPr>
              <a:spLocks noChangeArrowheads="1"/>
            </p:cNvSpPr>
            <p:nvPr/>
          </p:nvSpPr>
          <p:spPr bwMode="auto">
            <a:xfrm>
              <a:off x="3209" y="2549"/>
              <a:ext cx="295" cy="416"/>
            </a:xfrm>
            <a:prstGeom prst="ellips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64790" name="Oval 57"/>
            <p:cNvSpPr>
              <a:spLocks noChangeArrowheads="1"/>
            </p:cNvSpPr>
            <p:nvPr/>
          </p:nvSpPr>
          <p:spPr bwMode="auto">
            <a:xfrm>
              <a:off x="3210" y="2894"/>
              <a:ext cx="295" cy="416"/>
            </a:xfrm>
            <a:prstGeom prst="ellips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sp>
          <p:nvSpPr>
            <p:cNvPr id="2164791" name="Oval 58"/>
            <p:cNvSpPr>
              <a:spLocks noChangeArrowheads="1"/>
            </p:cNvSpPr>
            <p:nvPr/>
          </p:nvSpPr>
          <p:spPr bwMode="auto">
            <a:xfrm>
              <a:off x="2493" y="496"/>
              <a:ext cx="295" cy="416"/>
            </a:xfrm>
            <a:prstGeom prst="ellipse">
              <a:avLst/>
            </a:prstGeom>
            <a:noFill/>
            <a:ln w="28575">
              <a:solidFill>
                <a:schemeClr val="folHlink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sp>
        <p:nvSpPr>
          <p:cNvPr id="820229" name="Rectangle 5"/>
          <p:cNvSpPr>
            <a:spLocks noChangeArrowheads="1"/>
          </p:cNvSpPr>
          <p:nvPr/>
        </p:nvSpPr>
        <p:spPr bwMode="auto">
          <a:xfrm>
            <a:off x="-3175" y="1196975"/>
            <a:ext cx="3897313" cy="173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defTabSz="914400"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Общий объем тонких уголь-ных шламов, выпускаемых обогатительными фабриками Кузбасса, составляет более </a:t>
            </a: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</a:t>
            </a:r>
          </a:p>
          <a:p>
            <a:pPr defTabSz="914400">
              <a:defRPr/>
            </a:pP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10 500 тыс. тонн в</a:t>
            </a: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год.</a:t>
            </a:r>
          </a:p>
        </p:txBody>
      </p:sp>
      <p:pic>
        <p:nvPicPr>
          <p:cNvPr id="2164744" name="Picture 58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-3175" y="4386263"/>
            <a:ext cx="4297363" cy="2439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46651" name="Rectangle 59"/>
          <p:cNvSpPr>
            <a:spLocks noChangeArrowheads="1"/>
          </p:cNvSpPr>
          <p:nvPr/>
        </p:nvSpPr>
        <p:spPr bwMode="auto">
          <a:xfrm>
            <a:off x="781050" y="4216400"/>
            <a:ext cx="3311525" cy="669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 defTabSz="914400">
              <a:defRPr/>
            </a:pPr>
            <a:r>
              <a:rPr lang="ru-RU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Гранулометрический состав</a:t>
            </a:r>
          </a:p>
          <a:p>
            <a:pPr algn="ctr" defTabSz="914400">
              <a:defRPr/>
            </a:pPr>
            <a:r>
              <a:rPr lang="ru-RU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шламов</a:t>
            </a:r>
          </a:p>
        </p:txBody>
      </p:sp>
    </p:spTree>
  </p:cSld>
  <p:clrMapOvr>
    <a:masterClrMapping/>
  </p:clrMapOvr>
  <p:transition advTm="12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6" dur="2000" fill="hold"/>
                                        <p:tgtEl>
                                          <p:spTgt spid="820286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  <p:par>
                                <p:cTn id="7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22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9" dur="500"/>
                                        <p:tgtEl>
                                          <p:spTgt spid="8222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-3175" y="0"/>
            <a:ext cx="9909175" cy="1196975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endParaRPr lang="en-US" sz="2400" b="1">
              <a:solidFill>
                <a:srgbClr val="FFC000"/>
              </a:solidFill>
              <a:latin typeface="Cambria" pitchFamily="18" charset="0"/>
              <a:cs typeface="Times New Roman" pitchFamily="18" charset="0"/>
            </a:endParaRPr>
          </a:p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r>
              <a:rPr lang="en-US" sz="2400" b="1">
                <a:solidFill>
                  <a:srgbClr val="FFC000"/>
                </a:solidFill>
                <a:latin typeface="Cambria" pitchFamily="18" charset="0"/>
                <a:cs typeface="Times New Roman" pitchFamily="18" charset="0"/>
              </a:rPr>
              <a:t>   </a:t>
            </a:r>
            <a:endParaRPr lang="ru-RU" sz="2000" b="1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  <p:sp>
        <p:nvSpPr>
          <p:cNvPr id="2165762" name="object 3"/>
          <p:cNvSpPr>
            <a:spLocks noChangeArrowheads="1"/>
          </p:cNvSpPr>
          <p:nvPr/>
        </p:nvSpPr>
        <p:spPr bwMode="auto">
          <a:xfrm>
            <a:off x="0" y="0"/>
            <a:ext cx="9906000" cy="6846888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sp>
        <p:nvSpPr>
          <p:cNvPr id="2" name="Заголовок 1"/>
          <p:cNvSpPr txBox="1">
            <a:spLocks/>
          </p:cNvSpPr>
          <p:nvPr/>
        </p:nvSpPr>
        <p:spPr bwMode="auto">
          <a:xfrm>
            <a:off x="0" y="0"/>
            <a:ext cx="9909175" cy="620713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endParaRPr lang="en-US" sz="2400" b="1">
              <a:solidFill>
                <a:srgbClr val="FFC000"/>
              </a:solidFill>
              <a:latin typeface="Cambria" pitchFamily="18" charset="0"/>
              <a:cs typeface="Times New Roman" pitchFamily="18" charset="0"/>
            </a:endParaRPr>
          </a:p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r>
              <a:rPr lang="en-US" sz="2400" b="1">
                <a:solidFill>
                  <a:srgbClr val="FFC000"/>
                </a:solidFill>
                <a:latin typeface="Cambria" pitchFamily="18" charset="0"/>
                <a:cs typeface="Times New Roman" pitchFamily="18" charset="0"/>
              </a:rPr>
              <a:t>   </a:t>
            </a:r>
            <a:endParaRPr lang="ru-RU" sz="2000" b="1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  <p:sp>
        <p:nvSpPr>
          <p:cNvPr id="3000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895350" y="0"/>
            <a:ext cx="8420100" cy="503238"/>
          </a:xfrm>
        </p:spPr>
        <p:txBody>
          <a:bodyPr anchor="ctr"/>
          <a:lstStyle/>
          <a:p>
            <a:pPr algn="ctr" eaLnBrk="1" hangingPunct="1">
              <a:defRPr/>
            </a:pPr>
            <a:r>
              <a:rPr lang="ru-RU" altLang="ru-RU" sz="2800" b="1" smtClean="0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Информация об угольных шламах ОФ Кузбасса</a:t>
            </a:r>
            <a:r>
              <a:rPr lang="ru-RU" altLang="ru-RU" sz="4000" smtClean="0"/>
              <a:t> </a:t>
            </a:r>
          </a:p>
        </p:txBody>
      </p:sp>
      <p:graphicFrame>
        <p:nvGraphicFramePr>
          <p:cNvPr id="1751133" name="Group 93"/>
          <p:cNvGraphicFramePr>
            <a:graphicFrameLocks noGrp="1"/>
          </p:cNvGraphicFramePr>
          <p:nvPr>
            <p:ph idx="4294967295"/>
          </p:nvPr>
        </p:nvGraphicFramePr>
        <p:xfrm>
          <a:off x="844550" y="668338"/>
          <a:ext cx="8424863" cy="5954712"/>
        </p:xfrm>
        <a:graphic>
          <a:graphicData uri="http://schemas.openxmlformats.org/drawingml/2006/table">
            <a:tbl>
              <a:tblPr/>
              <a:tblGrid>
                <a:gridCol w="4500563"/>
                <a:gridCol w="1025525"/>
                <a:gridCol w="1420812"/>
                <a:gridCol w="1477963"/>
              </a:tblGrid>
              <a:tr h="6397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Black" pitchFamily="34" charset="0"/>
                          <a:cs typeface="Times New Roman" pitchFamily="18" charset="0"/>
                        </a:rPr>
                        <a:t>Наименование ОФ</a:t>
                      </a:r>
                      <a:endParaRPr kumimoji="0" lang="ru-RU" alt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 Black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Black" pitchFamily="34" charset="0"/>
                          <a:cs typeface="Times New Roman" pitchFamily="18" charset="0"/>
                        </a:rPr>
                        <a:t>Влага, 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Black" pitchFamily="34" charset="0"/>
                          <a:cs typeface="Times New Roman" pitchFamily="18" charset="0"/>
                        </a:rPr>
                        <a:t>Зольность, %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cs typeface="Times New Roman" pitchFamily="18" charset="0"/>
                        </a:rPr>
                        <a:t>Выход</a:t>
                      </a: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Black" pitchFamily="34" charset="0"/>
                          <a:cs typeface="Times New Roman" pitchFamily="18" charset="0"/>
                        </a:rPr>
                        <a:t>,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 Black" pitchFamily="34" charset="0"/>
                          <a:cs typeface="Times New Roman" pitchFamily="18" charset="0"/>
                        </a:rPr>
                        <a:t>т/</a:t>
                      </a: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ahoma" pitchFamily="34" charset="0"/>
                          <a:cs typeface="Times New Roman" pitchFamily="18" charset="0"/>
                        </a:rPr>
                        <a:t>год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3399FF"/>
                    </a:solidFill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ОФ «Абашевская»</a:t>
                      </a:r>
                      <a:endParaRPr kumimoji="0" lang="ru-RU" altLang="ru-RU" sz="16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- 3</a:t>
                      </a: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</a:t>
                      </a:r>
                      <a:endParaRPr kumimoji="0" lang="ru-RU" alt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endParaRPr kumimoji="0" lang="ru-RU" alt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</a:t>
                      </a: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</a:t>
                      </a: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–</a:t>
                      </a: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2</a:t>
                      </a: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 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</a:tr>
              <a:tr h="5254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Ф «Антоновская»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0 – 44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– </a:t>
                      </a: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8 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</a:tr>
              <a:tr h="4318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ЦОФ «Щедрухинская»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4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 более 3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4 000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</a:tr>
              <a:tr h="4079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Ф «Матюшинская»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45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20 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66CCFF"/>
                    </a:solidFill>
                  </a:tcPr>
                </a:tc>
              </a:tr>
              <a:tr h="41275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Ф «Бачатская»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 – 40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</a:t>
                      </a: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0 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3794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ез Красногорский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 – 38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 – 25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 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Ф «Северная»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</a:t>
                      </a: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4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2 – 35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8 000</a:t>
                      </a:r>
                      <a:endParaRPr kumimoji="0" lang="en-US" alt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3794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Ф «Спутник»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4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3 – 30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8 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5238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рез «Шестаки»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3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 – 23 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 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5254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Ф «им. Кирова»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 - 40</a:t>
                      </a:r>
                      <a:endParaRPr kumimoji="0" lang="ru-RU" alt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 - 38</a:t>
                      </a:r>
                      <a:endParaRPr kumimoji="0" lang="ru-RU" alt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60 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37941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Ф «Комсомолец»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 -</a:t>
                      </a: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</a:t>
                      </a:r>
                      <a:r>
                        <a:rPr kumimoji="0" lang="en-US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5</a:t>
                      </a:r>
                      <a:endParaRPr kumimoji="0" lang="ru-RU" altLang="ru-RU" sz="14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0 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  <a:tr h="1809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Ф «Талдинская-энергетическая»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 - 38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folHlink"/>
                        </a:buClr>
                        <a:buSzPct val="60000"/>
                        <a:buFont typeface="Wingdings" pitchFamily="2" charset="2"/>
                        <a:buNone/>
                        <a:tabLst/>
                      </a:pPr>
                      <a:r>
                        <a:rPr kumimoji="0" lang="ru-RU" alt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20 000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DDDDD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advTm="12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00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.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0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 prLst="gradientSize: 0.1">
                                      <p:cBhvr>
                                        <p:cTn id="9" dur="1000"/>
                                        <p:tgtEl>
                                          <p:spTgt spid="3000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003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6785" name="object 3"/>
          <p:cNvSpPr>
            <a:spLocks noChangeArrowheads="1"/>
          </p:cNvSpPr>
          <p:nvPr/>
        </p:nvSpPr>
        <p:spPr bwMode="auto">
          <a:xfrm>
            <a:off x="0" y="0"/>
            <a:ext cx="9906000" cy="6824663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grpSp>
        <p:nvGrpSpPr>
          <p:cNvPr id="824367" name="Group 47"/>
          <p:cNvGrpSpPr>
            <a:grpSpLocks/>
          </p:cNvGrpSpPr>
          <p:nvPr/>
        </p:nvGrpSpPr>
        <p:grpSpPr bwMode="auto">
          <a:xfrm>
            <a:off x="2171700" y="4905375"/>
            <a:ext cx="2352675" cy="1463675"/>
            <a:chOff x="2039" y="3141"/>
            <a:chExt cx="1195" cy="833"/>
          </a:xfrm>
        </p:grpSpPr>
        <p:pic>
          <p:nvPicPr>
            <p:cNvPr id="2166827" name="Picture 10" descr="IMG_0811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>
              <a:off x="2039" y="3141"/>
              <a:ext cx="1180" cy="81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66828" name="Rectangle 45"/>
            <p:cNvSpPr>
              <a:spLocks noChangeArrowheads="1"/>
            </p:cNvSpPr>
            <p:nvPr/>
          </p:nvSpPr>
          <p:spPr bwMode="auto">
            <a:xfrm>
              <a:off x="2054" y="3141"/>
              <a:ext cx="1180" cy="833"/>
            </a:xfrm>
            <a:prstGeom prst="rect">
              <a:avLst/>
            </a:prstGeom>
            <a:noFill/>
            <a:ln w="57150" cmpd="thinThick">
              <a:solidFill>
                <a:srgbClr val="0066CC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-3175" y="0"/>
            <a:ext cx="9909175" cy="1196975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endParaRPr lang="en-US" sz="2400" b="1">
              <a:solidFill>
                <a:srgbClr val="FFC000"/>
              </a:solidFill>
              <a:latin typeface="Cambria" pitchFamily="18" charset="0"/>
              <a:cs typeface="Times New Roman" pitchFamily="18" charset="0"/>
            </a:endParaRPr>
          </a:p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r>
              <a:rPr lang="en-US" sz="2400" b="1">
                <a:solidFill>
                  <a:srgbClr val="FFC000"/>
                </a:solidFill>
                <a:latin typeface="Cambria" pitchFamily="18" charset="0"/>
                <a:cs typeface="Times New Roman" pitchFamily="18" charset="0"/>
              </a:rPr>
              <a:t>   </a:t>
            </a:r>
            <a:endParaRPr lang="ru-RU" sz="2000" b="1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  <p:grpSp>
        <p:nvGrpSpPr>
          <p:cNvPr id="824324" name="Group 4"/>
          <p:cNvGrpSpPr>
            <a:grpSpLocks/>
          </p:cNvGrpSpPr>
          <p:nvPr/>
        </p:nvGrpSpPr>
        <p:grpSpPr bwMode="auto">
          <a:xfrm>
            <a:off x="155575" y="2566988"/>
            <a:ext cx="1831975" cy="2665412"/>
            <a:chOff x="138" y="1193"/>
            <a:chExt cx="792" cy="1399"/>
          </a:xfrm>
        </p:grpSpPr>
        <p:pic>
          <p:nvPicPr>
            <p:cNvPr id="2166824" name="Picture 5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144" y="2064"/>
              <a:ext cx="768" cy="51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</p:pic>
        <p:pic>
          <p:nvPicPr>
            <p:cNvPr id="2166825" name="Picture 6"/>
            <p:cNvPicPr>
              <a:picLocks noChangeAspect="1" noChangeArrowheads="1"/>
            </p:cNvPicPr>
            <p:nvPr/>
          </p:nvPicPr>
          <p:blipFill>
            <a:blip r:embed="rId5"/>
            <a:srcRect/>
            <a:stretch>
              <a:fillRect/>
            </a:stretch>
          </p:blipFill>
          <p:spPr bwMode="auto">
            <a:xfrm>
              <a:off x="138" y="1193"/>
              <a:ext cx="792" cy="8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66826" name="Rectangle 7"/>
            <p:cNvSpPr>
              <a:spLocks noChangeArrowheads="1"/>
            </p:cNvSpPr>
            <p:nvPr/>
          </p:nvSpPr>
          <p:spPr bwMode="auto">
            <a:xfrm>
              <a:off x="144" y="1200"/>
              <a:ext cx="768" cy="1392"/>
            </a:xfrm>
            <a:prstGeom prst="rect">
              <a:avLst/>
            </a:prstGeom>
            <a:noFill/>
            <a:ln w="57150" cmpd="thinThick">
              <a:solidFill>
                <a:srgbClr val="0066FF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sp>
        <p:nvSpPr>
          <p:cNvPr id="824328" name="AutoShape 8"/>
          <p:cNvSpPr>
            <a:spLocks noChangeArrowheads="1"/>
          </p:cNvSpPr>
          <p:nvPr/>
        </p:nvSpPr>
        <p:spPr bwMode="auto">
          <a:xfrm>
            <a:off x="635000" y="5141913"/>
            <a:ext cx="468313" cy="719137"/>
          </a:xfrm>
          <a:prstGeom prst="downArrow">
            <a:avLst>
              <a:gd name="adj1" fmla="val 50000"/>
              <a:gd name="adj2" fmla="val 38390"/>
            </a:avLst>
          </a:prstGeom>
          <a:solidFill>
            <a:srgbClr val="4D4D4D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824329" name="AutoShape 9"/>
          <p:cNvSpPr>
            <a:spLocks noChangeArrowheads="1"/>
          </p:cNvSpPr>
          <p:nvPr/>
        </p:nvSpPr>
        <p:spPr bwMode="auto">
          <a:xfrm>
            <a:off x="1946275" y="2501900"/>
            <a:ext cx="1704975" cy="463550"/>
          </a:xfrm>
          <a:prstGeom prst="rightArrow">
            <a:avLst>
              <a:gd name="adj1" fmla="val 50000"/>
              <a:gd name="adj2" fmla="val 91952"/>
            </a:avLst>
          </a:prstGeom>
          <a:gradFill rotWithShape="1">
            <a:gsLst>
              <a:gs pos="0">
                <a:schemeClr val="bg1"/>
              </a:gs>
              <a:gs pos="50000">
                <a:srgbClr val="000000"/>
              </a:gs>
              <a:gs pos="100000">
                <a:schemeClr val="bg1"/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824331" name="Rectangle 11"/>
          <p:cNvSpPr>
            <a:spLocks noChangeArrowheads="1"/>
          </p:cNvSpPr>
          <p:nvPr/>
        </p:nvSpPr>
        <p:spPr bwMode="auto">
          <a:xfrm>
            <a:off x="1987550" y="2189163"/>
            <a:ext cx="1624013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концентрат</a:t>
            </a:r>
          </a:p>
        </p:txBody>
      </p:sp>
      <p:sp>
        <p:nvSpPr>
          <p:cNvPr id="824333" name="Rectangle 13"/>
          <p:cNvSpPr>
            <a:spLocks noChangeArrowheads="1"/>
          </p:cNvSpPr>
          <p:nvPr/>
        </p:nvSpPr>
        <p:spPr bwMode="auto">
          <a:xfrm>
            <a:off x="169863" y="1963738"/>
            <a:ext cx="2076450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Обогатительная</a:t>
            </a:r>
          </a:p>
          <a:p>
            <a:pPr algn="ctr">
              <a:lnSpc>
                <a:spcPct val="80000"/>
              </a:lnSpc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фабрика</a:t>
            </a:r>
          </a:p>
        </p:txBody>
      </p:sp>
      <p:sp>
        <p:nvSpPr>
          <p:cNvPr id="824334" name="Rectangle 14"/>
          <p:cNvSpPr>
            <a:spLocks noChangeArrowheads="1"/>
          </p:cNvSpPr>
          <p:nvPr/>
        </p:nvSpPr>
        <p:spPr bwMode="auto">
          <a:xfrm>
            <a:off x="4665663" y="1133475"/>
            <a:ext cx="2827337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lnSpc>
                <a:spcPct val="85000"/>
              </a:lnSpc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Цех по приготовлению</a:t>
            </a:r>
          </a:p>
          <a:p>
            <a:pPr algn="ctr">
              <a:lnSpc>
                <a:spcPct val="85000"/>
              </a:lnSpc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ВУТ </a:t>
            </a:r>
          </a:p>
        </p:txBody>
      </p:sp>
      <p:sp>
        <p:nvSpPr>
          <p:cNvPr id="824335" name="Rectangle 15"/>
          <p:cNvSpPr>
            <a:spLocks noChangeArrowheads="1"/>
          </p:cNvSpPr>
          <p:nvPr/>
        </p:nvSpPr>
        <p:spPr bwMode="auto">
          <a:xfrm>
            <a:off x="3889375" y="4000500"/>
            <a:ext cx="12223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угольный</a:t>
            </a:r>
          </a:p>
          <a:p>
            <a:pPr algn="ctr">
              <a:lnSpc>
                <a:spcPct val="80000"/>
              </a:lnSpc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шлам</a:t>
            </a:r>
          </a:p>
        </p:txBody>
      </p:sp>
      <p:sp>
        <p:nvSpPr>
          <p:cNvPr id="824336" name="Rectangle 16"/>
          <p:cNvSpPr>
            <a:spLocks noChangeArrowheads="1"/>
          </p:cNvSpPr>
          <p:nvPr/>
        </p:nvSpPr>
        <p:spPr bwMode="auto">
          <a:xfrm>
            <a:off x="415925" y="5773738"/>
            <a:ext cx="9588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порода</a:t>
            </a:r>
          </a:p>
        </p:txBody>
      </p:sp>
      <p:sp>
        <p:nvSpPr>
          <p:cNvPr id="824339" name="Rectangle 19"/>
          <p:cNvSpPr>
            <a:spLocks noChangeArrowheads="1"/>
          </p:cNvSpPr>
          <p:nvPr/>
        </p:nvSpPr>
        <p:spPr bwMode="auto">
          <a:xfrm>
            <a:off x="7908925" y="2033588"/>
            <a:ext cx="158908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ТЭЦ, ГРЭС </a:t>
            </a:r>
          </a:p>
        </p:txBody>
      </p:sp>
      <p:sp>
        <p:nvSpPr>
          <p:cNvPr id="824340" name="Rectangle 20"/>
          <p:cNvSpPr>
            <a:spLocks noChangeArrowheads="1"/>
          </p:cNvSpPr>
          <p:nvPr/>
        </p:nvSpPr>
        <p:spPr bwMode="auto">
          <a:xfrm>
            <a:off x="7972425" y="5518150"/>
            <a:ext cx="146843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Котельные</a:t>
            </a:r>
          </a:p>
        </p:txBody>
      </p:sp>
      <p:grpSp>
        <p:nvGrpSpPr>
          <p:cNvPr id="824353" name="Group 33"/>
          <p:cNvGrpSpPr>
            <a:grpSpLocks/>
          </p:cNvGrpSpPr>
          <p:nvPr/>
        </p:nvGrpSpPr>
        <p:grpSpPr bwMode="auto">
          <a:xfrm>
            <a:off x="7874000" y="2387600"/>
            <a:ext cx="1912938" cy="1120775"/>
            <a:chOff x="4742" y="2355"/>
            <a:chExt cx="1351" cy="613"/>
          </a:xfrm>
        </p:grpSpPr>
        <p:sp>
          <p:nvSpPr>
            <p:cNvPr id="2166822" name="Rectangle 2"/>
            <p:cNvSpPr>
              <a:spLocks noChangeArrowheads="1"/>
            </p:cNvSpPr>
            <p:nvPr/>
          </p:nvSpPr>
          <p:spPr bwMode="auto">
            <a:xfrm>
              <a:off x="4742" y="2355"/>
              <a:ext cx="1351" cy="613"/>
            </a:xfrm>
            <a:prstGeom prst="rect">
              <a:avLst/>
            </a:prstGeom>
            <a:noFill/>
            <a:ln w="57150" cmpd="thinThick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  <p:pic>
          <p:nvPicPr>
            <p:cNvPr id="2166823" name="Picture 23" descr="026_expert-sibir_04-06"/>
            <p:cNvPicPr>
              <a:picLocks noChangeAspect="1" noChangeArrowheads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4767" y="2355"/>
              <a:ext cx="1326" cy="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824368" name="Group 48"/>
          <p:cNvGrpSpPr>
            <a:grpSpLocks/>
          </p:cNvGrpSpPr>
          <p:nvPr/>
        </p:nvGrpSpPr>
        <p:grpSpPr bwMode="auto">
          <a:xfrm>
            <a:off x="4524375" y="1743075"/>
            <a:ext cx="2525713" cy="2079625"/>
            <a:chOff x="3357" y="1493"/>
            <a:chExt cx="1032" cy="670"/>
          </a:xfrm>
        </p:grpSpPr>
        <p:pic>
          <p:nvPicPr>
            <p:cNvPr id="2166820" name="Picture 22" descr="zdanie_dlya_proizvodstva  (11)"/>
            <p:cNvPicPr>
              <a:picLocks noChangeAspect="1" noChangeArrowheads="1"/>
            </p:cNvPicPr>
            <p:nvPr/>
          </p:nvPicPr>
          <p:blipFill>
            <a:blip r:embed="rId7"/>
            <a:srcRect/>
            <a:stretch>
              <a:fillRect/>
            </a:stretch>
          </p:blipFill>
          <p:spPr bwMode="auto">
            <a:xfrm>
              <a:off x="3357" y="1504"/>
              <a:ext cx="1032" cy="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66821" name="Rectangle 24"/>
            <p:cNvSpPr>
              <a:spLocks noChangeArrowheads="1"/>
            </p:cNvSpPr>
            <p:nvPr/>
          </p:nvSpPr>
          <p:spPr bwMode="auto">
            <a:xfrm>
              <a:off x="3357" y="1493"/>
              <a:ext cx="1032" cy="658"/>
            </a:xfrm>
            <a:prstGeom prst="rect">
              <a:avLst/>
            </a:prstGeom>
            <a:noFill/>
            <a:ln w="57150" cmpd="thinThick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grpSp>
        <p:nvGrpSpPr>
          <p:cNvPr id="824354" name="Group 34"/>
          <p:cNvGrpSpPr>
            <a:grpSpLocks/>
          </p:cNvGrpSpPr>
          <p:nvPr/>
        </p:nvGrpSpPr>
        <p:grpSpPr bwMode="auto">
          <a:xfrm>
            <a:off x="7972425" y="5854700"/>
            <a:ext cx="1695450" cy="971550"/>
            <a:chOff x="5061" y="3217"/>
            <a:chExt cx="885" cy="612"/>
          </a:xfrm>
        </p:grpSpPr>
        <p:pic>
          <p:nvPicPr>
            <p:cNvPr id="2166818" name="Picture 3" descr="269c"/>
            <p:cNvPicPr>
              <a:picLocks noChangeAspect="1" noChangeArrowheads="1"/>
            </p:cNvPicPr>
            <p:nvPr/>
          </p:nvPicPr>
          <p:blipFill>
            <a:blip r:embed="rId8"/>
            <a:srcRect/>
            <a:stretch>
              <a:fillRect/>
            </a:stretch>
          </p:blipFill>
          <p:spPr bwMode="auto">
            <a:xfrm>
              <a:off x="5061" y="3217"/>
              <a:ext cx="885" cy="61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66819" name="Rectangle 25"/>
            <p:cNvSpPr>
              <a:spLocks noChangeArrowheads="1"/>
            </p:cNvSpPr>
            <p:nvPr/>
          </p:nvSpPr>
          <p:spPr bwMode="auto">
            <a:xfrm>
              <a:off x="5061" y="3217"/>
              <a:ext cx="884" cy="612"/>
            </a:xfrm>
            <a:prstGeom prst="rect">
              <a:avLst/>
            </a:prstGeom>
            <a:noFill/>
            <a:ln w="57150" cmpd="thinThick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sp>
        <p:nvSpPr>
          <p:cNvPr id="824348" name="Rectangle 28"/>
          <p:cNvSpPr>
            <a:spLocks noChangeArrowheads="1"/>
          </p:cNvSpPr>
          <p:nvPr/>
        </p:nvSpPr>
        <p:spPr bwMode="auto">
          <a:xfrm>
            <a:off x="6967538" y="4781550"/>
            <a:ext cx="284162" cy="1079500"/>
          </a:xfrm>
          <a:prstGeom prst="rect">
            <a:avLst/>
          </a:prstGeom>
          <a:gradFill rotWithShape="1">
            <a:gsLst>
              <a:gs pos="0">
                <a:srgbClr val="E3F319"/>
              </a:gs>
              <a:gs pos="50000">
                <a:srgbClr val="996633"/>
              </a:gs>
              <a:gs pos="100000">
                <a:srgbClr val="E3F319"/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824349" name="Rectangle 29"/>
          <p:cNvSpPr>
            <a:spLocks noChangeArrowheads="1"/>
          </p:cNvSpPr>
          <p:nvPr/>
        </p:nvSpPr>
        <p:spPr bwMode="auto">
          <a:xfrm>
            <a:off x="5416550" y="4495800"/>
            <a:ext cx="1550988" cy="123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algn="r">
              <a:lnSpc>
                <a:spcPct val="75000"/>
              </a:lnSpc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гидро-</a:t>
            </a:r>
          </a:p>
          <a:p>
            <a:pPr algn="r">
              <a:lnSpc>
                <a:spcPct val="75000"/>
              </a:lnSpc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транспорт</a:t>
            </a:r>
            <a:endParaRPr lang="en-US" sz="2000" b="1" i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algn="r">
              <a:lnSpc>
                <a:spcPct val="75000"/>
              </a:lnSpc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авто-</a:t>
            </a:r>
          </a:p>
          <a:p>
            <a:pPr algn="r">
              <a:lnSpc>
                <a:spcPct val="75000"/>
              </a:lnSpc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транспорт</a:t>
            </a:r>
          </a:p>
          <a:p>
            <a:pPr algn="ctr">
              <a:lnSpc>
                <a:spcPct val="75000"/>
              </a:lnSpc>
              <a:defRPr/>
            </a:pPr>
            <a:endParaRPr lang="ru-RU" sz="2000" b="1" i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</p:txBody>
      </p:sp>
      <p:sp>
        <p:nvSpPr>
          <p:cNvPr id="824350" name="AutoShape 30"/>
          <p:cNvSpPr>
            <a:spLocks noChangeArrowheads="1"/>
          </p:cNvSpPr>
          <p:nvPr/>
        </p:nvSpPr>
        <p:spPr bwMode="auto">
          <a:xfrm>
            <a:off x="6967538" y="2849563"/>
            <a:ext cx="1012825" cy="755650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5898240 60000 65536"/>
              <a:gd name="T10" fmla="*/ 5898240 60000 65536"/>
              <a:gd name="T11" fmla="*/ 0 60000 65536"/>
              <a:gd name="T12" fmla="*/ 12427 w 21600"/>
              <a:gd name="T13" fmla="*/ 2912 h 21600"/>
              <a:gd name="T14" fmla="*/ 18227 w 21600"/>
              <a:gd name="T15" fmla="*/ 9246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21600" y="6079"/>
                </a:moveTo>
                <a:lnTo>
                  <a:pt x="15126" y="0"/>
                </a:lnTo>
                <a:lnTo>
                  <a:pt x="15126" y="2912"/>
                </a:lnTo>
                <a:lnTo>
                  <a:pt x="12427" y="2912"/>
                </a:lnTo>
                <a:cubicBezTo>
                  <a:pt x="5564" y="2912"/>
                  <a:pt x="0" y="7052"/>
                  <a:pt x="0" y="12158"/>
                </a:cubicBezTo>
                <a:lnTo>
                  <a:pt x="0" y="21600"/>
                </a:lnTo>
                <a:lnTo>
                  <a:pt x="6474" y="21600"/>
                </a:lnTo>
                <a:lnTo>
                  <a:pt x="6474" y="12158"/>
                </a:lnTo>
                <a:cubicBezTo>
                  <a:pt x="6474" y="10550"/>
                  <a:pt x="9139" y="9246"/>
                  <a:pt x="12427" y="9246"/>
                </a:cubicBezTo>
                <a:lnTo>
                  <a:pt x="15126" y="9246"/>
                </a:lnTo>
                <a:lnTo>
                  <a:pt x="15126" y="12158"/>
                </a:lnTo>
                <a:close/>
              </a:path>
            </a:pathLst>
          </a:custGeom>
          <a:gradFill rotWithShape="1">
            <a:gsLst>
              <a:gs pos="0">
                <a:srgbClr val="FFFF00"/>
              </a:gs>
              <a:gs pos="50000">
                <a:srgbClr val="800000"/>
              </a:gs>
              <a:gs pos="100000">
                <a:srgbClr val="FFFF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2" name="Прямоугольник 1"/>
          <p:cNvSpPr>
            <a:spLocks noChangeArrowheads="1"/>
          </p:cNvSpPr>
          <p:nvPr/>
        </p:nvSpPr>
        <p:spPr bwMode="auto">
          <a:xfrm>
            <a:off x="273050" y="257175"/>
            <a:ext cx="9224963" cy="876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marL="230188" algn="ctr">
              <a:defRPr/>
            </a:pPr>
            <a:r>
              <a:rPr lang="ru-RU" sz="3200" b="1">
                <a:solidFill>
                  <a:schemeClr val="tx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ПРЕДЛАГАЕМЫЕ ВАРИАНТЫ РЕШЕНИЯ ПРОБЛЕМЫ</a:t>
            </a:r>
          </a:p>
        </p:txBody>
      </p:sp>
      <p:sp>
        <p:nvSpPr>
          <p:cNvPr id="824357" name="Rectangle 37"/>
          <p:cNvSpPr>
            <a:spLocks noChangeArrowheads="1"/>
          </p:cNvSpPr>
          <p:nvPr/>
        </p:nvSpPr>
        <p:spPr bwMode="auto">
          <a:xfrm>
            <a:off x="7874000" y="3786188"/>
            <a:ext cx="146526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sz="20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Мини ТЭЦ</a:t>
            </a:r>
          </a:p>
        </p:txBody>
      </p:sp>
      <p:sp>
        <p:nvSpPr>
          <p:cNvPr id="824358" name="Rectangle 38"/>
          <p:cNvSpPr>
            <a:spLocks noChangeArrowheads="1"/>
          </p:cNvSpPr>
          <p:nvPr/>
        </p:nvSpPr>
        <p:spPr bwMode="auto">
          <a:xfrm>
            <a:off x="3557588" y="4000500"/>
            <a:ext cx="327025" cy="1141413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50000">
                <a:srgbClr val="00FFFF"/>
              </a:gs>
              <a:gs pos="100000">
                <a:schemeClr val="tx1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824362" name="Rectangle 42"/>
          <p:cNvSpPr>
            <a:spLocks noChangeArrowheads="1"/>
          </p:cNvSpPr>
          <p:nvPr/>
        </p:nvSpPr>
        <p:spPr bwMode="auto">
          <a:xfrm>
            <a:off x="6967538" y="3522663"/>
            <a:ext cx="311150" cy="1079500"/>
          </a:xfrm>
          <a:prstGeom prst="rect">
            <a:avLst/>
          </a:prstGeom>
          <a:gradFill rotWithShape="1">
            <a:gsLst>
              <a:gs pos="0">
                <a:srgbClr val="E3F319"/>
              </a:gs>
              <a:gs pos="50000">
                <a:srgbClr val="996633"/>
              </a:gs>
              <a:gs pos="100000">
                <a:srgbClr val="E3F319"/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824363" name="AutoShape 43"/>
          <p:cNvSpPr>
            <a:spLocks noChangeArrowheads="1"/>
          </p:cNvSpPr>
          <p:nvPr/>
        </p:nvSpPr>
        <p:spPr bwMode="auto">
          <a:xfrm flipV="1">
            <a:off x="5954713" y="3781425"/>
            <a:ext cx="1012825" cy="755650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5898240 60000 65536"/>
              <a:gd name="T10" fmla="*/ 5898240 60000 65536"/>
              <a:gd name="T11" fmla="*/ 0 60000 65536"/>
              <a:gd name="T12" fmla="*/ 12427 w 21600"/>
              <a:gd name="T13" fmla="*/ 2912 h 21600"/>
              <a:gd name="T14" fmla="*/ 18227 w 21600"/>
              <a:gd name="T15" fmla="*/ 9246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21600" y="6079"/>
                </a:moveTo>
                <a:lnTo>
                  <a:pt x="15126" y="0"/>
                </a:lnTo>
                <a:lnTo>
                  <a:pt x="15126" y="2912"/>
                </a:lnTo>
                <a:lnTo>
                  <a:pt x="12427" y="2912"/>
                </a:lnTo>
                <a:cubicBezTo>
                  <a:pt x="5564" y="2912"/>
                  <a:pt x="0" y="7052"/>
                  <a:pt x="0" y="12158"/>
                </a:cubicBezTo>
                <a:lnTo>
                  <a:pt x="0" y="21600"/>
                </a:lnTo>
                <a:lnTo>
                  <a:pt x="6474" y="21600"/>
                </a:lnTo>
                <a:lnTo>
                  <a:pt x="6474" y="12158"/>
                </a:lnTo>
                <a:cubicBezTo>
                  <a:pt x="6474" y="10550"/>
                  <a:pt x="9139" y="9246"/>
                  <a:pt x="12427" y="9246"/>
                </a:cubicBezTo>
                <a:lnTo>
                  <a:pt x="15126" y="9246"/>
                </a:lnTo>
                <a:lnTo>
                  <a:pt x="15126" y="12158"/>
                </a:lnTo>
                <a:close/>
              </a:path>
            </a:pathLst>
          </a:custGeom>
          <a:gradFill rotWithShape="1">
            <a:gsLst>
              <a:gs pos="0">
                <a:srgbClr val="FFFF00"/>
              </a:gs>
              <a:gs pos="50000">
                <a:srgbClr val="800000"/>
              </a:gs>
              <a:gs pos="100000">
                <a:srgbClr val="FFFF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824347" name="AutoShape 27"/>
          <p:cNvSpPr>
            <a:spLocks noChangeArrowheads="1"/>
          </p:cNvSpPr>
          <p:nvPr/>
        </p:nvSpPr>
        <p:spPr bwMode="auto">
          <a:xfrm flipV="1">
            <a:off x="6967538" y="4495800"/>
            <a:ext cx="1012825" cy="755650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5898240 60000 65536"/>
              <a:gd name="T10" fmla="*/ 5898240 60000 65536"/>
              <a:gd name="T11" fmla="*/ 0 60000 65536"/>
              <a:gd name="T12" fmla="*/ 12427 w 21600"/>
              <a:gd name="T13" fmla="*/ 2912 h 21600"/>
              <a:gd name="T14" fmla="*/ 18227 w 21600"/>
              <a:gd name="T15" fmla="*/ 9246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21600" y="6079"/>
                </a:moveTo>
                <a:lnTo>
                  <a:pt x="15126" y="0"/>
                </a:lnTo>
                <a:lnTo>
                  <a:pt x="15126" y="2912"/>
                </a:lnTo>
                <a:lnTo>
                  <a:pt x="12427" y="2912"/>
                </a:lnTo>
                <a:cubicBezTo>
                  <a:pt x="5564" y="2912"/>
                  <a:pt x="0" y="7052"/>
                  <a:pt x="0" y="12158"/>
                </a:cubicBezTo>
                <a:lnTo>
                  <a:pt x="0" y="21600"/>
                </a:lnTo>
                <a:lnTo>
                  <a:pt x="6474" y="21600"/>
                </a:lnTo>
                <a:lnTo>
                  <a:pt x="6474" y="12158"/>
                </a:lnTo>
                <a:cubicBezTo>
                  <a:pt x="6474" y="10550"/>
                  <a:pt x="9139" y="9246"/>
                  <a:pt x="12427" y="9246"/>
                </a:cubicBezTo>
                <a:lnTo>
                  <a:pt x="15126" y="9246"/>
                </a:lnTo>
                <a:lnTo>
                  <a:pt x="15126" y="12158"/>
                </a:lnTo>
                <a:close/>
              </a:path>
            </a:pathLst>
          </a:custGeom>
          <a:gradFill rotWithShape="1">
            <a:gsLst>
              <a:gs pos="0">
                <a:srgbClr val="FFFF00"/>
              </a:gs>
              <a:gs pos="50000">
                <a:srgbClr val="800000"/>
              </a:gs>
              <a:gs pos="100000">
                <a:srgbClr val="FFFF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grpSp>
        <p:nvGrpSpPr>
          <p:cNvPr id="824371" name="Group 51"/>
          <p:cNvGrpSpPr>
            <a:grpSpLocks/>
          </p:cNvGrpSpPr>
          <p:nvPr/>
        </p:nvGrpSpPr>
        <p:grpSpPr bwMode="auto">
          <a:xfrm>
            <a:off x="7927975" y="4122738"/>
            <a:ext cx="1789113" cy="1147762"/>
            <a:chOff x="4982" y="3517"/>
            <a:chExt cx="1024" cy="656"/>
          </a:xfrm>
        </p:grpSpPr>
        <p:pic>
          <p:nvPicPr>
            <p:cNvPr id="2166816" name="Picture 36"/>
            <p:cNvPicPr>
              <a:picLocks noChangeAspect="1" noChangeArrowheads="1"/>
            </p:cNvPicPr>
            <p:nvPr/>
          </p:nvPicPr>
          <p:blipFill>
            <a:blip r:embed="rId9"/>
            <a:srcRect/>
            <a:stretch>
              <a:fillRect/>
            </a:stretch>
          </p:blipFill>
          <p:spPr bwMode="auto">
            <a:xfrm>
              <a:off x="5010" y="3517"/>
              <a:ext cx="996" cy="65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2166817" name="Rectangle 44"/>
            <p:cNvSpPr>
              <a:spLocks noChangeArrowheads="1"/>
            </p:cNvSpPr>
            <p:nvPr/>
          </p:nvSpPr>
          <p:spPr bwMode="auto">
            <a:xfrm>
              <a:off x="4982" y="3517"/>
              <a:ext cx="1024" cy="656"/>
            </a:xfrm>
            <a:prstGeom prst="rect">
              <a:avLst/>
            </a:prstGeom>
            <a:noFill/>
            <a:ln w="57150" cmpd="thinThick">
              <a:solidFill>
                <a:schemeClr val="accent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ru-RU"/>
            </a:p>
          </p:txBody>
        </p:sp>
      </p:grpSp>
      <p:sp>
        <p:nvSpPr>
          <p:cNvPr id="824337" name="AutoShape 17"/>
          <p:cNvSpPr>
            <a:spLocks noChangeArrowheads="1"/>
          </p:cNvSpPr>
          <p:nvPr/>
        </p:nvSpPr>
        <p:spPr bwMode="auto">
          <a:xfrm>
            <a:off x="3557588" y="3476625"/>
            <a:ext cx="1108075" cy="838200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5898240 60000 65536"/>
              <a:gd name="T10" fmla="*/ 5898240 60000 65536"/>
              <a:gd name="T11" fmla="*/ 0 60000 65536"/>
              <a:gd name="T12" fmla="*/ 12427 w 21600"/>
              <a:gd name="T13" fmla="*/ 2912 h 21600"/>
              <a:gd name="T14" fmla="*/ 18227 w 21600"/>
              <a:gd name="T15" fmla="*/ 9246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21600" y="6079"/>
                </a:moveTo>
                <a:lnTo>
                  <a:pt x="15126" y="0"/>
                </a:lnTo>
                <a:lnTo>
                  <a:pt x="15126" y="2912"/>
                </a:lnTo>
                <a:lnTo>
                  <a:pt x="12427" y="2912"/>
                </a:lnTo>
                <a:cubicBezTo>
                  <a:pt x="5564" y="2912"/>
                  <a:pt x="0" y="7052"/>
                  <a:pt x="0" y="12158"/>
                </a:cubicBezTo>
                <a:lnTo>
                  <a:pt x="0" y="21600"/>
                </a:lnTo>
                <a:lnTo>
                  <a:pt x="6474" y="21600"/>
                </a:lnTo>
                <a:lnTo>
                  <a:pt x="6474" y="12158"/>
                </a:lnTo>
                <a:cubicBezTo>
                  <a:pt x="6474" y="10550"/>
                  <a:pt x="9139" y="9246"/>
                  <a:pt x="12427" y="9246"/>
                </a:cubicBezTo>
                <a:lnTo>
                  <a:pt x="15126" y="9246"/>
                </a:lnTo>
                <a:lnTo>
                  <a:pt x="15126" y="12158"/>
                </a:lnTo>
                <a:close/>
              </a:path>
            </a:pathLst>
          </a:custGeom>
          <a:gradFill rotWithShape="1">
            <a:gsLst>
              <a:gs pos="0">
                <a:srgbClr val="000000"/>
              </a:gs>
              <a:gs pos="50000">
                <a:srgbClr val="66FFFF"/>
              </a:gs>
              <a:gs pos="100000">
                <a:srgbClr val="0000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824355" name="AutoShape 35"/>
          <p:cNvSpPr>
            <a:spLocks noChangeArrowheads="1"/>
          </p:cNvSpPr>
          <p:nvPr/>
        </p:nvSpPr>
        <p:spPr bwMode="auto">
          <a:xfrm flipV="1">
            <a:off x="6967538" y="5648325"/>
            <a:ext cx="1012825" cy="755650"/>
          </a:xfrm>
          <a:custGeom>
            <a:avLst/>
            <a:gdLst>
              <a:gd name="T0" fmla="*/ 2147483647 w 21600"/>
              <a:gd name="T1" fmla="*/ 0 h 21600"/>
              <a:gd name="T2" fmla="*/ 2147483647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5898240 60000 65536"/>
              <a:gd name="T10" fmla="*/ 5898240 60000 65536"/>
              <a:gd name="T11" fmla="*/ 0 60000 65536"/>
              <a:gd name="T12" fmla="*/ 12427 w 21600"/>
              <a:gd name="T13" fmla="*/ 2912 h 21600"/>
              <a:gd name="T14" fmla="*/ 18227 w 21600"/>
              <a:gd name="T15" fmla="*/ 9246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21600" y="6079"/>
                </a:moveTo>
                <a:lnTo>
                  <a:pt x="15126" y="0"/>
                </a:lnTo>
                <a:lnTo>
                  <a:pt x="15126" y="2912"/>
                </a:lnTo>
                <a:lnTo>
                  <a:pt x="12427" y="2912"/>
                </a:lnTo>
                <a:cubicBezTo>
                  <a:pt x="5564" y="2912"/>
                  <a:pt x="0" y="7052"/>
                  <a:pt x="0" y="12158"/>
                </a:cubicBezTo>
                <a:lnTo>
                  <a:pt x="0" y="21600"/>
                </a:lnTo>
                <a:lnTo>
                  <a:pt x="6474" y="21600"/>
                </a:lnTo>
                <a:lnTo>
                  <a:pt x="6474" y="12158"/>
                </a:lnTo>
                <a:cubicBezTo>
                  <a:pt x="6474" y="10550"/>
                  <a:pt x="9139" y="9246"/>
                  <a:pt x="12427" y="9246"/>
                </a:cubicBezTo>
                <a:lnTo>
                  <a:pt x="15126" y="9246"/>
                </a:lnTo>
                <a:lnTo>
                  <a:pt x="15126" y="12158"/>
                </a:lnTo>
                <a:close/>
              </a:path>
            </a:pathLst>
          </a:custGeom>
          <a:gradFill rotWithShape="1">
            <a:gsLst>
              <a:gs pos="0">
                <a:srgbClr val="FFFF00"/>
              </a:gs>
              <a:gs pos="50000">
                <a:srgbClr val="800000"/>
              </a:gs>
              <a:gs pos="100000">
                <a:srgbClr val="FFFF00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ru-RU"/>
          </a:p>
        </p:txBody>
      </p:sp>
      <p:sp>
        <p:nvSpPr>
          <p:cNvPr id="824369" name="AutoShape 49"/>
          <p:cNvSpPr>
            <a:spLocks noChangeArrowheads="1"/>
          </p:cNvSpPr>
          <p:nvPr/>
        </p:nvSpPr>
        <p:spPr bwMode="auto">
          <a:xfrm>
            <a:off x="1946275" y="2944813"/>
            <a:ext cx="2719388" cy="531812"/>
          </a:xfrm>
          <a:prstGeom prst="rightArrow">
            <a:avLst>
              <a:gd name="adj1" fmla="val 50000"/>
              <a:gd name="adj2" fmla="val 127836"/>
            </a:avLst>
          </a:prstGeom>
          <a:gradFill rotWithShape="1">
            <a:gsLst>
              <a:gs pos="0">
                <a:srgbClr val="00FFFF"/>
              </a:gs>
              <a:gs pos="50000">
                <a:schemeClr val="tx1"/>
              </a:gs>
              <a:gs pos="100000">
                <a:srgbClr val="00FFFF"/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824370" name="AutoShape 50"/>
          <p:cNvSpPr>
            <a:spLocks noChangeArrowheads="1"/>
          </p:cNvSpPr>
          <p:nvPr/>
        </p:nvSpPr>
        <p:spPr bwMode="auto">
          <a:xfrm flipV="1">
            <a:off x="1987550" y="3786188"/>
            <a:ext cx="1295400" cy="1260475"/>
          </a:xfrm>
          <a:custGeom>
            <a:avLst/>
            <a:gdLst>
              <a:gd name="G0" fmla="+- 9257 0 0"/>
              <a:gd name="G1" fmla="+- 18514 0 0"/>
              <a:gd name="G2" fmla="+- 7200 0 0"/>
              <a:gd name="G3" fmla="*/ 9257 1 2"/>
              <a:gd name="G4" fmla="+- G3 10800 0"/>
              <a:gd name="G5" fmla="+- 21600 9257 18514"/>
              <a:gd name="G6" fmla="+- 18514 7200 0"/>
              <a:gd name="G7" fmla="*/ G6 1 2"/>
              <a:gd name="G8" fmla="*/ 18514 2 1"/>
              <a:gd name="G9" fmla="+- G8 0 21600"/>
              <a:gd name="G10" fmla="*/ 21600 G0 G1"/>
              <a:gd name="G11" fmla="*/ 21600 G4 G1"/>
              <a:gd name="G12" fmla="*/ 21600 G5 G1"/>
              <a:gd name="G13" fmla="*/ 21600 G7 G1"/>
              <a:gd name="G14" fmla="*/ 18514 1 2"/>
              <a:gd name="G15" fmla="+- G5 0 G4"/>
              <a:gd name="G16" fmla="+- G0 0 G4"/>
              <a:gd name="G17" fmla="*/ G2 G15 G16"/>
              <a:gd name="T0" fmla="*/ 15429 w 21600"/>
              <a:gd name="T1" fmla="*/ 0 h 21600"/>
              <a:gd name="T2" fmla="*/ 9257 w 21600"/>
              <a:gd name="T3" fmla="*/ 7200 h 21600"/>
              <a:gd name="T4" fmla="*/ 0 w 21600"/>
              <a:gd name="T5" fmla="*/ 18001 h 21600"/>
              <a:gd name="T6" fmla="*/ 9257 w 21600"/>
              <a:gd name="T7" fmla="*/ 21600 h 21600"/>
              <a:gd name="T8" fmla="*/ 18514 w 21600"/>
              <a:gd name="T9" fmla="*/ 15000 h 21600"/>
              <a:gd name="T10" fmla="*/ 21600 w 21600"/>
              <a:gd name="T11" fmla="*/ 7200 h 21600"/>
              <a:gd name="T12" fmla="*/ 17694720 60000 65536"/>
              <a:gd name="T13" fmla="*/ 11796480 60000 65536"/>
              <a:gd name="T14" fmla="*/ 11796480 60000 65536"/>
              <a:gd name="T15" fmla="*/ 5898240 60000 65536"/>
              <a:gd name="T16" fmla="*/ 0 60000 65536"/>
              <a:gd name="T17" fmla="*/ 0 60000 65536"/>
              <a:gd name="T18" fmla="*/ 0 w 21600"/>
              <a:gd name="T19" fmla="*/ G12 h 21600"/>
              <a:gd name="T20" fmla="*/ G1 w 21600"/>
              <a:gd name="T21" fmla="*/ 21600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5429" y="0"/>
                </a:moveTo>
                <a:lnTo>
                  <a:pt x="9257" y="7200"/>
                </a:lnTo>
                <a:lnTo>
                  <a:pt x="12343" y="7200"/>
                </a:lnTo>
                <a:lnTo>
                  <a:pt x="12343" y="14400"/>
                </a:lnTo>
                <a:lnTo>
                  <a:pt x="0" y="14400"/>
                </a:lnTo>
                <a:lnTo>
                  <a:pt x="0" y="21600"/>
                </a:lnTo>
                <a:lnTo>
                  <a:pt x="18514" y="21600"/>
                </a:lnTo>
                <a:lnTo>
                  <a:pt x="18514" y="7200"/>
                </a:lnTo>
                <a:lnTo>
                  <a:pt x="21600" y="7200"/>
                </a:lnTo>
                <a:close/>
              </a:path>
            </a:pathLst>
          </a:custGeom>
          <a:gradFill rotWithShape="1">
            <a:gsLst>
              <a:gs pos="0">
                <a:srgbClr val="00FFFF"/>
              </a:gs>
              <a:gs pos="50000">
                <a:schemeClr val="tx1"/>
              </a:gs>
              <a:gs pos="100000">
                <a:srgbClr val="00FFFF"/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/>
          </a:p>
        </p:txBody>
      </p:sp>
      <p:sp>
        <p:nvSpPr>
          <p:cNvPr id="824338" name="Rectangle 18"/>
          <p:cNvSpPr>
            <a:spLocks noChangeArrowheads="1"/>
          </p:cNvSpPr>
          <p:nvPr/>
        </p:nvSpPr>
        <p:spPr bwMode="auto">
          <a:xfrm>
            <a:off x="1987550" y="3241675"/>
            <a:ext cx="1222375" cy="581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>
              <a:lnSpc>
                <a:spcPct val="80000"/>
              </a:lnSpc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угольный</a:t>
            </a:r>
          </a:p>
          <a:p>
            <a:pPr algn="ctr">
              <a:lnSpc>
                <a:spcPct val="80000"/>
              </a:lnSpc>
              <a:defRPr/>
            </a:pPr>
            <a:r>
              <a:rPr lang="ru-RU" sz="2000" b="1" i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шлам</a:t>
            </a:r>
          </a:p>
        </p:txBody>
      </p:sp>
    </p:spTree>
  </p:cSld>
  <p:clrMapOvr>
    <a:masterClrMapping/>
  </p:clrMapOvr>
  <p:transition advTm="12000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" dur="500"/>
                                        <p:tgtEl>
                                          <p:spTgt spid="8243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8243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3" dur="500"/>
                                        <p:tgtEl>
                                          <p:spTgt spid="8243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6" dur="500"/>
                                        <p:tgtEl>
                                          <p:spTgt spid="8243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9" dur="500"/>
                                        <p:tgtEl>
                                          <p:spTgt spid="8243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2" dur="500"/>
                                        <p:tgtEl>
                                          <p:spTgt spid="8243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5" dur="500"/>
                                        <p:tgtEl>
                                          <p:spTgt spid="8243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8" dur="500"/>
                                        <p:tgtEl>
                                          <p:spTgt spid="8243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1" dur="500"/>
                                        <p:tgtEl>
                                          <p:spTgt spid="8243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4" dur="500"/>
                                        <p:tgtEl>
                                          <p:spTgt spid="824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37" dur="500"/>
                                        <p:tgtEl>
                                          <p:spTgt spid="8243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0" dur="500"/>
                                        <p:tgtEl>
                                          <p:spTgt spid="8243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3" dur="500"/>
                                        <p:tgtEl>
                                          <p:spTgt spid="8243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6" dur="500"/>
                                        <p:tgtEl>
                                          <p:spTgt spid="8243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49" dur="500"/>
                                        <p:tgtEl>
                                          <p:spTgt spid="8243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2" dur="500"/>
                                        <p:tgtEl>
                                          <p:spTgt spid="8243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5" dur="500"/>
                                        <p:tgtEl>
                                          <p:spTgt spid="8243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58" dur="500"/>
                                        <p:tgtEl>
                                          <p:spTgt spid="8243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1" dur="500"/>
                                        <p:tgtEl>
                                          <p:spTgt spid="8243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4" dur="500"/>
                                        <p:tgtEl>
                                          <p:spTgt spid="8243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67" dur="500"/>
                                        <p:tgtEl>
                                          <p:spTgt spid="8243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0" dur="500"/>
                                        <p:tgtEl>
                                          <p:spTgt spid="8243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3" dur="500"/>
                                        <p:tgtEl>
                                          <p:spTgt spid="8243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6" dur="500"/>
                                        <p:tgtEl>
                                          <p:spTgt spid="8243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79" dur="500"/>
                                        <p:tgtEl>
                                          <p:spTgt spid="8243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2" dur="500"/>
                                        <p:tgtEl>
                                          <p:spTgt spid="824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5" dur="500"/>
                                        <p:tgtEl>
                                          <p:spTgt spid="8243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43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88" dur="500"/>
                                        <p:tgtEl>
                                          <p:spTgt spid="8243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24328" grpId="0" animBg="1"/>
      <p:bldP spid="824329" grpId="0" animBg="1"/>
      <p:bldP spid="824331" grpId="0"/>
      <p:bldP spid="824333" grpId="0"/>
      <p:bldP spid="824334" grpId="0"/>
      <p:bldP spid="824335" grpId="0"/>
      <p:bldP spid="824336" grpId="0"/>
      <p:bldP spid="824339" grpId="0"/>
      <p:bldP spid="824340" grpId="0"/>
      <p:bldP spid="824348" grpId="0" animBg="1"/>
      <p:bldP spid="824349" grpId="0"/>
      <p:bldP spid="824350" grpId="0" animBg="1"/>
      <p:bldP spid="824357" grpId="0"/>
      <p:bldP spid="824358" grpId="0" animBg="1"/>
      <p:bldP spid="824362" grpId="0" animBg="1"/>
      <p:bldP spid="824363" grpId="0" animBg="1"/>
      <p:bldP spid="824347" grpId="0" animBg="1"/>
      <p:bldP spid="824337" grpId="0" animBg="1"/>
      <p:bldP spid="824355" grpId="0" animBg="1"/>
      <p:bldP spid="824369" grpId="0" animBg="1"/>
      <p:bldP spid="82433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7809" name="object 3"/>
          <p:cNvSpPr>
            <a:spLocks noChangeArrowheads="1"/>
          </p:cNvSpPr>
          <p:nvPr/>
        </p:nvSpPr>
        <p:spPr bwMode="auto">
          <a:xfrm>
            <a:off x="0" y="0"/>
            <a:ext cx="9898063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0" y="-36513"/>
            <a:ext cx="9909175" cy="1196976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defTabSz="914400">
              <a:buClr>
                <a:srgbClr val="E46C0A"/>
              </a:buClr>
              <a:buSzPct val="128000"/>
              <a:defRPr/>
            </a:pPr>
            <a:endParaRPr lang="ru-RU" sz="2000" b="1"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cs typeface="Arial" charset="0"/>
            </a:endParaRPr>
          </a:p>
        </p:txBody>
      </p:sp>
      <p:sp>
        <p:nvSpPr>
          <p:cNvPr id="829445" name="Rectangle 5"/>
          <p:cNvSpPr>
            <a:spLocks noChangeArrowheads="1"/>
          </p:cNvSpPr>
          <p:nvPr/>
        </p:nvSpPr>
        <p:spPr bwMode="auto">
          <a:xfrm>
            <a:off x="415925" y="0"/>
            <a:ext cx="9132888" cy="946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 algn="ctr"/>
            <a:r>
              <a:rPr lang="ru-RU" sz="28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Технологический комплекс приготовления и сжигания</a:t>
            </a:r>
          </a:p>
          <a:p>
            <a:pPr algn="ctr"/>
            <a:r>
              <a:rPr lang="ru-RU" sz="28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водоугольного топлива  КузГТУ</a:t>
            </a:r>
          </a:p>
        </p:txBody>
      </p:sp>
      <p:pic>
        <p:nvPicPr>
          <p:cNvPr id="2167812" name="Picture 13" descr="Сжигание_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673725" y="1160463"/>
            <a:ext cx="3419475" cy="2782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67813" name="Picture 12" descr="Компрессор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431925" y="4068763"/>
            <a:ext cx="3189288" cy="2789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67814" name="Picture 11" descr="Участок сжигания_3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621213" y="3656013"/>
            <a:ext cx="5276850" cy="3201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67815" name="Прямоугольник 16"/>
          <p:cNvSpPr>
            <a:spLocks noChangeArrowheads="1"/>
          </p:cNvSpPr>
          <p:nvPr/>
        </p:nvSpPr>
        <p:spPr bwMode="auto">
          <a:xfrm>
            <a:off x="5673725" y="6537325"/>
            <a:ext cx="4221163" cy="311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>
              <a:lnSpc>
                <a:spcPct val="80000"/>
              </a:lnSpc>
            </a:pPr>
            <a:r>
              <a:rPr lang="ru-RU" sz="1800" b="1" i="1">
                <a:solidFill>
                  <a:schemeClr val="bg1"/>
                </a:solidFill>
              </a:rPr>
              <a:t>Участок сжигания топлива</a:t>
            </a:r>
          </a:p>
        </p:txBody>
      </p:sp>
      <p:pic>
        <p:nvPicPr>
          <p:cNvPr id="2167816" name="Picture 10" descr="Участок подготовки топлива_3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0" y="1160463"/>
            <a:ext cx="5676900" cy="31924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67817" name="Прямоугольник 8"/>
          <p:cNvSpPr>
            <a:spLocks noChangeArrowheads="1"/>
          </p:cNvSpPr>
          <p:nvPr/>
        </p:nvSpPr>
        <p:spPr bwMode="auto">
          <a:xfrm>
            <a:off x="165100" y="3803650"/>
            <a:ext cx="3354388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defTabSz="914400">
              <a:lnSpc>
                <a:spcPct val="80000"/>
              </a:lnSpc>
            </a:pPr>
            <a:r>
              <a:rPr lang="ru-RU" sz="1800" b="1" i="1">
                <a:solidFill>
                  <a:schemeClr val="bg1"/>
                </a:solidFill>
              </a:rPr>
              <a:t>Участок</a:t>
            </a:r>
            <a:r>
              <a:rPr lang="ru-RU" sz="1800" b="1" i="1">
                <a:solidFill>
                  <a:schemeClr val="bg1"/>
                </a:solidFill>
                <a:latin typeface="Calibri" pitchFamily="34" charset="0"/>
              </a:rPr>
              <a:t> </a:t>
            </a:r>
            <a:r>
              <a:rPr lang="ru-RU" sz="1800" b="1" i="1">
                <a:solidFill>
                  <a:schemeClr val="bg1"/>
                </a:solidFill>
              </a:rPr>
              <a:t>приготовления</a:t>
            </a:r>
          </a:p>
          <a:p>
            <a:pPr algn="ctr" defTabSz="914400">
              <a:lnSpc>
                <a:spcPct val="80000"/>
              </a:lnSpc>
            </a:pPr>
            <a:r>
              <a:rPr lang="ru-RU" sz="1800" b="1" i="1">
                <a:solidFill>
                  <a:schemeClr val="bg1"/>
                </a:solidFill>
              </a:rPr>
              <a:t>водоугольного топлива</a:t>
            </a:r>
          </a:p>
        </p:txBody>
      </p:sp>
    </p:spTree>
  </p:cSld>
  <p:clrMapOvr>
    <a:masterClrMapping/>
  </p:clrMapOvr>
  <p:transition advTm="12000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8833" name="object 3"/>
          <p:cNvSpPr>
            <a:spLocks noChangeArrowheads="1"/>
          </p:cNvSpPr>
          <p:nvPr/>
        </p:nvSpPr>
        <p:spPr bwMode="auto">
          <a:xfrm>
            <a:off x="0" y="0"/>
            <a:ext cx="9898063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0" y="0"/>
            <a:ext cx="9909175" cy="1196975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algn="ctr" defTabSz="914400">
              <a:buClr>
                <a:srgbClr val="E46C0A"/>
              </a:buClr>
              <a:buSzPct val="128000"/>
              <a:defRPr/>
            </a:pPr>
            <a:r>
              <a:rPr lang="ru-RU" sz="2800" b="1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</a:rPr>
              <a:t>Технологический комплекс приготовления и сжигания водоугольного топлива</a:t>
            </a:r>
          </a:p>
        </p:txBody>
      </p:sp>
      <p:sp>
        <p:nvSpPr>
          <p:cNvPr id="1996805" name="Rectangle 5"/>
          <p:cNvSpPr>
            <a:spLocks noChangeArrowheads="1"/>
          </p:cNvSpPr>
          <p:nvPr/>
        </p:nvSpPr>
        <p:spPr bwMode="auto">
          <a:xfrm>
            <a:off x="0" y="1592263"/>
            <a:ext cx="9712325" cy="489902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tIns="152352" bIns="0" anchor="ctr">
            <a:spAutoFit/>
          </a:bodyPr>
          <a:lstStyle/>
          <a:p>
            <a:pPr indent="539750" defTabSz="914400">
              <a:defRPr/>
            </a:pPr>
            <a:r>
              <a:rPr lang="ru-RU" sz="2400" b="1" u="sng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Технологический комплекс состоит из двух участков:</a:t>
            </a:r>
          </a:p>
          <a:p>
            <a:pPr indent="539750" defTabSz="914400">
              <a:defRPr/>
            </a:pPr>
            <a:endParaRPr lang="en-US" sz="2400" b="1" u="sng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indent="539750" defTabSz="914400">
              <a:defRPr/>
            </a:pPr>
            <a:r>
              <a:rPr lang="ru-RU" sz="2400" b="1" u="sng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участок №1  </a:t>
            </a: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 включает: </a:t>
            </a:r>
          </a:p>
          <a:p>
            <a:pPr indent="539750" defTabSz="914400">
              <a:buFont typeface="Wingdings" pitchFamily="2" charset="2"/>
              <a:buChar char="v"/>
              <a:defRPr/>
            </a:pP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   установку для подготовки угольного топлива к сжиганию; </a:t>
            </a:r>
          </a:p>
          <a:p>
            <a:pPr indent="539750" defTabSz="914400">
              <a:buFont typeface="Wingdings" pitchFamily="2" charset="2"/>
              <a:buNone/>
              <a:defRPr/>
            </a:pPr>
            <a:endParaRPr lang="ru-RU" sz="2400" b="1">
              <a:effectLst>
                <a:outerShdw blurRad="38100" dist="38100" dir="2700000" algn="tl">
                  <a:srgbClr val="C0C0C0"/>
                </a:outerShdw>
              </a:effectLst>
              <a:latin typeface="Times New Roman" pitchFamily="18" charset="0"/>
            </a:endParaRPr>
          </a:p>
          <a:p>
            <a:pPr indent="539750" defTabSz="914400">
              <a:defRPr/>
            </a:pPr>
            <a:r>
              <a:rPr lang="ru-RU" sz="2400" b="1" u="sng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участок №2  </a:t>
            </a: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  включает:</a:t>
            </a:r>
          </a:p>
          <a:p>
            <a:pPr indent="539750" defTabSz="914400">
              <a:buFont typeface="Wingdings" pitchFamily="2" charset="2"/>
              <a:buChar char="v"/>
              <a:defRPr/>
            </a:pP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  </a:t>
            </a:r>
            <a:r>
              <a:rPr lang="en-US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</a:t>
            </a: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специализированный водогрейный котел с топкой,  в которой  	реализуются два способа сжигания угольного топлива -   	вихревой и слоевой;</a:t>
            </a:r>
          </a:p>
          <a:p>
            <a:pPr indent="539750" defTabSz="914400">
              <a:buFont typeface="Wingdings" pitchFamily="2" charset="2"/>
              <a:buChar char="v"/>
              <a:defRPr/>
            </a:pP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   систему эвакуации дымовых газов;</a:t>
            </a:r>
          </a:p>
          <a:p>
            <a:pPr indent="539750" defTabSz="914400">
              <a:buFont typeface="Wingdings" pitchFamily="2" charset="2"/>
              <a:buChar char="v"/>
              <a:defRPr/>
            </a:pP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   систему съёма тепловой нагрузки котла;</a:t>
            </a:r>
          </a:p>
          <a:p>
            <a:pPr indent="539750" defTabSz="914400">
              <a:buFont typeface="Wingdings" pitchFamily="2" charset="2"/>
              <a:buChar char="v"/>
              <a:defRPr/>
            </a:pP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</a:rPr>
              <a:t>    двухстадийную систему пылеулавливания.</a:t>
            </a:r>
          </a:p>
          <a:p>
            <a:pPr indent="539750" defTabSz="914400">
              <a:defRPr/>
            </a:pPr>
            <a:r>
              <a:rPr lang="ru-RU" sz="2400" b="1">
                <a:effectLst>
                  <a:outerShdw blurRad="38100" dist="38100" dir="2700000" algn="tl">
                    <a:srgbClr val="C0C0C0"/>
                  </a:outerShdw>
                </a:effectLst>
              </a:rPr>
              <a:t>    </a:t>
            </a:r>
            <a:endParaRPr lang="ru-RU" sz="2400">
              <a:latin typeface="Times New Roman" pitchFamily="18" charset="0"/>
            </a:endParaRPr>
          </a:p>
        </p:txBody>
      </p:sp>
    </p:spTree>
  </p:cSld>
  <p:clrMapOvr>
    <a:masterClrMapping/>
  </p:clrMapOvr>
  <p:transition advClick="0" advTm="35000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9857" name="object 3"/>
          <p:cNvSpPr>
            <a:spLocks noChangeArrowheads="1"/>
          </p:cNvSpPr>
          <p:nvPr/>
        </p:nvSpPr>
        <p:spPr bwMode="auto">
          <a:xfrm>
            <a:off x="0" y="0"/>
            <a:ext cx="9898063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pic>
        <p:nvPicPr>
          <p:cNvPr id="2169858" name="Picture 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1069975"/>
            <a:ext cx="7839075" cy="578802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</p:spPr>
      </p:pic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0" y="0"/>
            <a:ext cx="9909175" cy="1196975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algn="ctr" defTabSz="914400">
              <a:buClr>
                <a:srgbClr val="E46C0A"/>
              </a:buClr>
              <a:buSzPct val="128000"/>
              <a:defRPr/>
            </a:pPr>
            <a:endParaRPr lang="ru-RU" sz="2800" b="1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</a:endParaRPr>
          </a:p>
        </p:txBody>
      </p:sp>
      <p:sp>
        <p:nvSpPr>
          <p:cNvPr id="35847" name="Rectangle 7"/>
          <p:cNvSpPr>
            <a:spLocks noChangeArrowheads="1"/>
          </p:cNvSpPr>
          <p:nvPr/>
        </p:nvSpPr>
        <p:spPr bwMode="auto">
          <a:xfrm>
            <a:off x="0" y="-15875"/>
            <a:ext cx="5811838" cy="1282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/>
            <a:r>
              <a:rPr lang="ru-RU" altLang="ru-RU" sz="26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Arial" charset="0"/>
              </a:rPr>
              <a:t>Участок №1 – </a:t>
            </a:r>
          </a:p>
          <a:p>
            <a:pPr algn="ctr" defTabSz="914400"/>
            <a:r>
              <a:rPr lang="ru-RU" altLang="ru-RU" sz="26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Arial" charset="0"/>
              </a:rPr>
              <a:t> приготовления угольного</a:t>
            </a:r>
          </a:p>
          <a:p>
            <a:pPr algn="ctr" defTabSz="914400"/>
            <a:r>
              <a:rPr lang="ru-RU" altLang="ru-RU" sz="2600" b="1">
                <a:effectLst>
                  <a:outerShdw blurRad="38100" dist="38100" dir="2700000" algn="tl">
                    <a:srgbClr val="C0C0C0"/>
                  </a:outerShdw>
                </a:effectLst>
                <a:latin typeface="Times New Roman" pitchFamily="18" charset="0"/>
                <a:cs typeface="Arial" charset="0"/>
              </a:rPr>
              <a:t> топлива</a:t>
            </a:r>
          </a:p>
        </p:txBody>
      </p:sp>
      <p:pic>
        <p:nvPicPr>
          <p:cNvPr id="2169861" name="Picture 4" descr="P106063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811838" y="0"/>
            <a:ext cx="4094162" cy="28305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 advTm="35000"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70881" name="object 3"/>
          <p:cNvSpPr>
            <a:spLocks noChangeArrowheads="1"/>
          </p:cNvSpPr>
          <p:nvPr/>
        </p:nvSpPr>
        <p:spPr bwMode="auto">
          <a:xfrm>
            <a:off x="0" y="0"/>
            <a:ext cx="9898063" cy="6858000"/>
          </a:xfrm>
          <a:prstGeom prst="rect">
            <a:avLst/>
          </a:prstGeom>
          <a:blipFill dpi="0" rotWithShape="1">
            <a:blip r:embed="rId2"/>
            <a:srcRect/>
            <a:stretch>
              <a:fillRect/>
            </a:stretch>
          </a:blipFill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defTabSz="914400"/>
            <a:endParaRPr lang="ru-RU" sz="1800">
              <a:latin typeface="Calibri" pitchFamily="34" charset="0"/>
            </a:endParaRPr>
          </a:p>
        </p:txBody>
      </p:sp>
      <p:pic>
        <p:nvPicPr>
          <p:cNvPr id="2170882" name="Picture 12" descr="Участок 2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0" y="1341438"/>
            <a:ext cx="6435725" cy="4751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70883" name="Picture 5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527800" y="3357563"/>
            <a:ext cx="3378200" cy="2330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8" name="Rectangle 8"/>
          <p:cNvSpPr>
            <a:spLocks noChangeArrowheads="1"/>
          </p:cNvSpPr>
          <p:nvPr/>
        </p:nvSpPr>
        <p:spPr bwMode="auto">
          <a:xfrm>
            <a:off x="6122988" y="5634038"/>
            <a:ext cx="3783012" cy="754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/>
            <a:ext uri="{91240B29-F687-4F45-9708-019B960494DF}"/>
            <a:ext uri="{AF507438-7753-43E0-B8FC-AC1667EBCBE1}"/>
          </a:extLst>
        </p:spPr>
        <p:txBody>
          <a:bodyPr anchor="ctr">
            <a:spAutoFit/>
          </a:bodyPr>
          <a:lstStyle/>
          <a:p>
            <a:pPr algn="ctr" defTabSz="914400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1600" b="1" dirty="0">
                <a:effectLst>
                  <a:outerShdw blurRad="38100" dist="38100" dir="2700000" algn="tl">
                    <a:srgbClr val="FFFFFF"/>
                  </a:outerShdw>
                </a:effectLst>
                <a:latin typeface="Times New Roman" pitchFamily="18" charset="0"/>
              </a:rPr>
              <a:t> Узел измерения расхода и давления топлива и сжатого воздуха</a:t>
            </a:r>
          </a:p>
        </p:txBody>
      </p:sp>
      <p:sp>
        <p:nvSpPr>
          <p:cNvPr id="13" name="Заголовок 1"/>
          <p:cNvSpPr txBox="1">
            <a:spLocks/>
          </p:cNvSpPr>
          <p:nvPr/>
        </p:nvSpPr>
        <p:spPr bwMode="auto">
          <a:xfrm>
            <a:off x="-11113" y="0"/>
            <a:ext cx="9909176" cy="1196975"/>
          </a:xfrm>
          <a:prstGeom prst="rect">
            <a:avLst/>
          </a:prstGeom>
          <a:solidFill>
            <a:srgbClr val="CCFFFF"/>
          </a:solidFill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19088" indent="-319088" algn="ctr" defTabSz="914400">
              <a:buClr>
                <a:srgbClr val="E46C0A"/>
              </a:buClr>
              <a:buSzPct val="128000"/>
              <a:defRPr/>
            </a:pPr>
            <a:endParaRPr lang="ru-RU" sz="2800" b="1">
              <a:effectLst>
                <a:outerShdw blurRad="38100" dist="38100" dir="2700000" algn="tl">
                  <a:srgbClr val="FFFFFF"/>
                </a:outerShdw>
              </a:effectLst>
              <a:latin typeface="Times New Roman" pitchFamily="18" charset="0"/>
            </a:endParaRPr>
          </a:p>
        </p:txBody>
      </p:sp>
      <p:sp>
        <p:nvSpPr>
          <p:cNvPr id="35847" name="Rectangle 7"/>
          <p:cNvSpPr>
            <a:spLocks noChangeArrowheads="1"/>
          </p:cNvSpPr>
          <p:nvPr/>
        </p:nvSpPr>
        <p:spPr bwMode="auto">
          <a:xfrm>
            <a:off x="0" y="180975"/>
            <a:ext cx="5811838" cy="885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>
            <a:spAutoFit/>
          </a:bodyPr>
          <a:lstStyle/>
          <a:p>
            <a:pPr algn="ctr" defTabSz="914400">
              <a:defRPr/>
            </a:pPr>
            <a:r>
              <a:rPr lang="ru-RU" altLang="ru-RU" sz="2600" b="1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Участок № 2 – </a:t>
            </a:r>
            <a:endParaRPr lang="en-US" altLang="ru-RU" sz="2600" b="1">
              <a:effectLst>
                <a:outerShdw blurRad="38100" dist="38100" dir="2700000" algn="tl">
                  <a:srgbClr val="C0C0C0"/>
                </a:outerShdw>
              </a:effectLst>
              <a:cs typeface="Arial" charset="0"/>
            </a:endParaRPr>
          </a:p>
          <a:p>
            <a:pPr algn="ctr" defTabSz="914400">
              <a:defRPr/>
            </a:pPr>
            <a:r>
              <a:rPr lang="ru-RU" altLang="ru-RU" sz="2600" b="1">
                <a:effectLst>
                  <a:outerShdw blurRad="38100" dist="38100" dir="2700000" algn="tl">
                    <a:srgbClr val="C0C0C0"/>
                  </a:outerShdw>
                </a:effectLst>
                <a:cs typeface="Arial" charset="0"/>
              </a:rPr>
              <a:t>сжигания угольного топлива</a:t>
            </a:r>
          </a:p>
        </p:txBody>
      </p:sp>
      <p:pic>
        <p:nvPicPr>
          <p:cNvPr id="2170887" name="Picture 9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5888038" y="0"/>
            <a:ext cx="4017962" cy="319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 advTm="35000"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Евраз 2">
  <a:themeElements>
    <a:clrScheme name="EVRAZ">
      <a:dk1>
        <a:srgbClr val="262626"/>
      </a:dk1>
      <a:lt1>
        <a:sysClr val="window" lastClr="FFFFFF"/>
      </a:lt1>
      <a:dk2>
        <a:srgbClr val="3F3F3F"/>
      </a:dk2>
      <a:lt2>
        <a:srgbClr val="95180A"/>
      </a:lt2>
      <a:accent1>
        <a:srgbClr val="F57F29"/>
      </a:accent1>
      <a:accent2>
        <a:srgbClr val="909090"/>
      </a:accent2>
      <a:accent3>
        <a:srgbClr val="EE3124"/>
      </a:accent3>
      <a:accent4>
        <a:srgbClr val="BABABA"/>
      </a:accent4>
      <a:accent5>
        <a:srgbClr val="FCB53B"/>
      </a:accent5>
      <a:accent6>
        <a:srgbClr val="FFDD00"/>
      </a:accent6>
      <a:hlink>
        <a:srgbClr val="CE8A14"/>
      </a:hlink>
      <a:folHlink>
        <a:srgbClr val="A62A1E"/>
      </a:folHlink>
    </a:clrScheme>
    <a:fontScheme name="EVRAZ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bg1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="" xmlns:thm15="http://schemas.microsoft.com/office/thememl/2012/main" name="EVRAZ_New template_1or2lines_BigLogo.pptx" id="{02814C3A-22BE-4037-8FC2-7A77B3AF4C8B}" vid="{50CBEFA9-457F-4BF6-A226-2D9A1505A184}"/>
    </a:ext>
  </a:extLst>
</a:theme>
</file>

<file path=ppt/theme/theme2.xml><?xml version="1.0" encoding="utf-8"?>
<a:theme xmlns:a="http://schemas.openxmlformats.org/drawingml/2006/main" name="Палитра">
  <a:themeElements>
    <a:clrScheme name="Палитра 3">
      <a:dk1>
        <a:srgbClr val="000000"/>
      </a:dk1>
      <a:lt1>
        <a:srgbClr val="FFFFFF"/>
      </a:lt1>
      <a:dk2>
        <a:srgbClr val="333399"/>
      </a:dk2>
      <a:lt2>
        <a:srgbClr val="1C1C1C"/>
      </a:lt2>
      <a:accent1>
        <a:srgbClr val="00E4A8"/>
      </a:accent1>
      <a:accent2>
        <a:srgbClr val="FFCF01"/>
      </a:accent2>
      <a:accent3>
        <a:srgbClr val="FFFFFF"/>
      </a:accent3>
      <a:accent4>
        <a:srgbClr val="000000"/>
      </a:accent4>
      <a:accent5>
        <a:srgbClr val="AAEFD1"/>
      </a:accent5>
      <a:accent6>
        <a:srgbClr val="E7BB01"/>
      </a:accent6>
      <a:hlink>
        <a:srgbClr val="FF0000"/>
      </a:hlink>
      <a:folHlink>
        <a:srgbClr val="3333CC"/>
      </a:folHlink>
    </a:clrScheme>
    <a:fontScheme name="Палитра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Палитра 1">
        <a:dk1>
          <a:srgbClr val="969696"/>
        </a:dk1>
        <a:lt1>
          <a:srgbClr val="FFFFFF"/>
        </a:lt1>
        <a:dk2>
          <a:srgbClr val="000000"/>
        </a:dk2>
        <a:lt2>
          <a:srgbClr val="DDDDDD"/>
        </a:lt2>
        <a:accent1>
          <a:srgbClr val="00E4A8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AAEFD1"/>
        </a:accent5>
        <a:accent6>
          <a:srgbClr val="2D2DB9"/>
        </a:accent6>
        <a:hlink>
          <a:srgbClr val="FF5050"/>
        </a:hlink>
        <a:folHlink>
          <a:srgbClr val="FFCF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алитра 2">
        <a:dk1>
          <a:srgbClr val="000094"/>
        </a:dk1>
        <a:lt1>
          <a:srgbClr val="FFFFFF"/>
        </a:lt1>
        <a:dk2>
          <a:srgbClr val="0000CC"/>
        </a:dk2>
        <a:lt2>
          <a:srgbClr val="FFFFCC"/>
        </a:lt2>
        <a:accent1>
          <a:srgbClr val="3193FF"/>
        </a:accent1>
        <a:accent2>
          <a:srgbClr val="9900FF"/>
        </a:accent2>
        <a:accent3>
          <a:srgbClr val="AAAAE2"/>
        </a:accent3>
        <a:accent4>
          <a:srgbClr val="DADADA"/>
        </a:accent4>
        <a:accent5>
          <a:srgbClr val="ADC8FF"/>
        </a:accent5>
        <a:accent6>
          <a:srgbClr val="8A00E7"/>
        </a:accent6>
        <a:hlink>
          <a:srgbClr val="FF33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Палитра 3">
        <a:dk1>
          <a:srgbClr val="000000"/>
        </a:dk1>
        <a:lt1>
          <a:srgbClr val="FFFFFF"/>
        </a:lt1>
        <a:dk2>
          <a:srgbClr val="333399"/>
        </a:dk2>
        <a:lt2>
          <a:srgbClr val="1C1C1C"/>
        </a:lt2>
        <a:accent1>
          <a:srgbClr val="00E4A8"/>
        </a:accent1>
        <a:accent2>
          <a:srgbClr val="FFCF01"/>
        </a:accent2>
        <a:accent3>
          <a:srgbClr val="FFFFFF"/>
        </a:accent3>
        <a:accent4>
          <a:srgbClr val="000000"/>
        </a:accent4>
        <a:accent5>
          <a:srgbClr val="AAEFD1"/>
        </a:accent5>
        <a:accent6>
          <a:srgbClr val="E7BB01"/>
        </a:accent6>
        <a:hlink>
          <a:srgbClr val="FF0000"/>
        </a:hlink>
        <a:folHlink>
          <a:srgbClr val="3333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алитра 4">
        <a:dk1>
          <a:srgbClr val="000000"/>
        </a:dk1>
        <a:lt1>
          <a:srgbClr val="FFFFFF"/>
        </a:lt1>
        <a:dk2>
          <a:srgbClr val="515F7B"/>
        </a:dk2>
        <a:lt2>
          <a:srgbClr val="808080"/>
        </a:lt2>
        <a:accent1>
          <a:srgbClr val="9FCAD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DE1E6"/>
        </a:accent5>
        <a:accent6>
          <a:srgbClr val="AEAEAE"/>
        </a:accent6>
        <a:hlink>
          <a:srgbClr val="91AFBF"/>
        </a:hlink>
        <a:folHlink>
          <a:srgbClr val="ECEAA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алитра 5">
        <a:dk1>
          <a:srgbClr val="000000"/>
        </a:dk1>
        <a:lt1>
          <a:srgbClr val="FFFFFF"/>
        </a:lt1>
        <a:dk2>
          <a:srgbClr val="000066"/>
        </a:dk2>
        <a:lt2>
          <a:srgbClr val="333333"/>
        </a:lt2>
        <a:accent1>
          <a:srgbClr val="C4709A"/>
        </a:accent1>
        <a:accent2>
          <a:srgbClr val="4B4EB5"/>
        </a:accent2>
        <a:accent3>
          <a:srgbClr val="FFFFFF"/>
        </a:accent3>
        <a:accent4>
          <a:srgbClr val="000000"/>
        </a:accent4>
        <a:accent5>
          <a:srgbClr val="DEBBCA"/>
        </a:accent5>
        <a:accent6>
          <a:srgbClr val="4346A4"/>
        </a:accent6>
        <a:hlink>
          <a:srgbClr val="C481CF"/>
        </a:hlink>
        <a:folHlink>
          <a:srgbClr val="76B7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Палитра 6">
        <a:dk1>
          <a:srgbClr val="000000"/>
        </a:dk1>
        <a:lt1>
          <a:srgbClr val="FFFFFF"/>
        </a:lt1>
        <a:dk2>
          <a:srgbClr val="6A4076"/>
        </a:dk2>
        <a:lt2>
          <a:srgbClr val="969696"/>
        </a:lt2>
        <a:accent1>
          <a:srgbClr val="DBA9C2"/>
        </a:accent1>
        <a:accent2>
          <a:srgbClr val="E1BF91"/>
        </a:accent2>
        <a:accent3>
          <a:srgbClr val="FFFFFF"/>
        </a:accent3>
        <a:accent4>
          <a:srgbClr val="000000"/>
        </a:accent4>
        <a:accent5>
          <a:srgbClr val="EAD1DD"/>
        </a:accent5>
        <a:accent6>
          <a:srgbClr val="CCAD83"/>
        </a:accent6>
        <a:hlink>
          <a:srgbClr val="B3CE82"/>
        </a:hlink>
        <a:folHlink>
          <a:srgbClr val="B8AD4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RAZ_New template_RUS</Template>
  <TotalTime>6944</TotalTime>
  <Words>833</Words>
  <Application>Microsoft Office PowerPoint</Application>
  <PresentationFormat>Лист A4 (210x297 мм)</PresentationFormat>
  <Paragraphs>332</Paragraphs>
  <Slides>16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Шаблон оформления</vt:lpstr>
      </vt:variant>
      <vt:variant>
        <vt:i4>3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6</vt:i4>
      </vt:variant>
    </vt:vector>
  </HeadingPairs>
  <TitlesOfParts>
    <vt:vector size="57" baseType="lpstr">
      <vt:lpstr>Arial</vt:lpstr>
      <vt:lpstr>Wingdings</vt:lpstr>
      <vt:lpstr>Wingdings 2</vt:lpstr>
      <vt:lpstr>Arial Black</vt:lpstr>
      <vt:lpstr>Calibri</vt:lpstr>
      <vt:lpstr>Tahoma</vt:lpstr>
      <vt:lpstr>Times New Roman</vt:lpstr>
      <vt:lpstr>Cambria</vt:lpstr>
      <vt:lpstr>Symbol</vt:lpstr>
      <vt:lpstr>Евраз 2</vt:lpstr>
      <vt:lpstr>Палитра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Евраз 2</vt:lpstr>
      <vt:lpstr>Палитра</vt:lpstr>
      <vt:lpstr>think-cell Slide</vt:lpstr>
      <vt:lpstr>Слайд 1</vt:lpstr>
      <vt:lpstr>Слайд 2</vt:lpstr>
      <vt:lpstr>Слайд 3</vt:lpstr>
      <vt:lpstr>Информация об угольных шламах ОФ Кузбасса 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Технико-экономические показатели по частичной  замене угольного топлива на котлах ПК-40 Беловской ГРЭС ВУТ на  основе угольных шламов</vt:lpstr>
      <vt:lpstr>Слайд 13</vt:lpstr>
      <vt:lpstr>Слайд 14</vt:lpstr>
      <vt:lpstr>Слайд 15</vt:lpstr>
      <vt:lpstr>Слайд 16</vt:lpstr>
    </vt:vector>
  </TitlesOfParts>
  <Company>ZSM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жигание твердого топлива на ПВС</dc:title>
  <dc:creator>Aleksey.Leontiev@evraz.com</dc:creator>
  <cp:lastModifiedBy>Admin</cp:lastModifiedBy>
  <cp:revision>105</cp:revision>
  <cp:lastPrinted>2014-04-29T09:30:02Z</cp:lastPrinted>
  <dcterms:created xsi:type="dcterms:W3CDTF">2017-03-09T02:54:38Z</dcterms:created>
  <dcterms:modified xsi:type="dcterms:W3CDTF">2022-02-02T02:48:36Z</dcterms:modified>
</cp:coreProperties>
</file>